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3"/>
  </p:notesMasterIdLst>
  <p:sldIdLst>
    <p:sldId id="792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F3F1A4-517C-44E0-AFD3-1D728F916382}" v="1" dt="2021-04-19T08:34:31.2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242" autoAdjust="0"/>
  </p:normalViewPr>
  <p:slideViewPr>
    <p:cSldViewPr snapToGrid="0">
      <p:cViewPr varScale="1">
        <p:scale>
          <a:sx n="114" d="100"/>
          <a:sy n="114" d="100"/>
        </p:scale>
        <p:origin x="696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Udet (CH)" userId="48da7849-2f5c-4153-9706-f81e95798e41" providerId="ADAL" clId="{AAF3F1A4-517C-44E0-AFD3-1D728F916382}"/>
    <pc:docChg chg="modSld">
      <pc:chgData name="Lisa Udet (CH)" userId="48da7849-2f5c-4153-9706-f81e95798e41" providerId="ADAL" clId="{AAF3F1A4-517C-44E0-AFD3-1D728F916382}" dt="2021-04-19T08:34:58.872" v="4" actId="114"/>
      <pc:docMkLst>
        <pc:docMk/>
      </pc:docMkLst>
      <pc:sldChg chg="modSp">
        <pc:chgData name="Lisa Udet (CH)" userId="48da7849-2f5c-4153-9706-f81e95798e41" providerId="ADAL" clId="{AAF3F1A4-517C-44E0-AFD3-1D728F916382}" dt="2021-04-19T08:34:58.872" v="4" actId="114"/>
        <pc:sldMkLst>
          <pc:docMk/>
          <pc:sldMk cId="2939989086" sldId="792"/>
        </pc:sldMkLst>
        <pc:spChg chg="mod">
          <ac:chgData name="Lisa Udet (CH)" userId="48da7849-2f5c-4153-9706-f81e95798e41" providerId="ADAL" clId="{AAF3F1A4-517C-44E0-AFD3-1D728F916382}" dt="2021-04-19T08:34:58.872" v="4" actId="114"/>
          <ac:spMkLst>
            <pc:docMk/>
            <pc:sldMk cId="2939989086" sldId="792"/>
            <ac:spMk id="2" creationId="{D2CCEE02-B407-4BB1-8A24-999D128008DF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34" creationId="{99D29E60-4131-4CE7-8F72-4A938AFD2DCC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35" creationId="{F754FB60-0C1B-495F-9611-B4ED06B46C48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38" creationId="{B1B3AB8A-1322-41EF-A7E8-1AE58AD28BC6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39" creationId="{48B4A1BB-7DB0-4715-97B3-0A76B1813AE0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50" creationId="{5A1BF686-907B-4360-AE6B-6DA621568DF7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54" creationId="{378AC0B7-5186-4032-BBC2-EF8117847BB0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56" creationId="{0FC07738-9B65-4CBA-A395-0DF7DF9538EF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57" creationId="{7A24E9BF-13FF-440A-923C-ACB83A3EAF27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60" creationId="{F99E2449-AB2D-4AF7-8FA8-FDD17E19458D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63" creationId="{AC536EFE-A3DC-4E11-8127-C3E6C28F6757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66" creationId="{4AD3FF40-466C-41F7-8F06-5EEB88D64C8E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76" creationId="{505FC7B4-CB1C-41EF-AB38-EDFD415AED22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141" creationId="{BC5ABCB9-50CD-46E8-8001-D02C27B18CB3}"/>
          </ac:spMkLst>
        </pc:spChg>
        <pc:spChg chg="mod">
          <ac:chgData name="Lisa Udet (CH)" userId="48da7849-2f5c-4153-9706-f81e95798e41" providerId="ADAL" clId="{AAF3F1A4-517C-44E0-AFD3-1D728F916382}" dt="2021-04-19T08:34:39.322" v="1" actId="114"/>
          <ac:spMkLst>
            <pc:docMk/>
            <pc:sldMk cId="2939989086" sldId="792"/>
            <ac:spMk id="142" creationId="{C737EFDF-6C03-4344-B5DB-34F0BF88DCF4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143" creationId="{52E66EDF-6261-4442-8FFC-E1E08A4F3E47}"/>
          </ac:spMkLst>
        </pc:spChg>
        <pc:spChg chg="mod">
          <ac:chgData name="Lisa Udet (CH)" userId="48da7849-2f5c-4153-9706-f81e95798e41" providerId="ADAL" clId="{AAF3F1A4-517C-44E0-AFD3-1D728F916382}" dt="2021-04-19T08:34:39.322" v="1" actId="114"/>
          <ac:spMkLst>
            <pc:docMk/>
            <pc:sldMk cId="2939989086" sldId="792"/>
            <ac:spMk id="145" creationId="{32C0931E-1FBD-44B2-B3D8-B8F1EEF3604C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146" creationId="{A5191EB2-66B2-4621-8C3E-D0CE134C0528}"/>
          </ac:spMkLst>
        </pc:spChg>
        <pc:spChg chg="mod">
          <ac:chgData name="Lisa Udet (CH)" userId="48da7849-2f5c-4153-9706-f81e95798e41" providerId="ADAL" clId="{AAF3F1A4-517C-44E0-AFD3-1D728F916382}" dt="2021-04-19T08:34:39.322" v="1" actId="114"/>
          <ac:spMkLst>
            <pc:docMk/>
            <pc:sldMk cId="2939989086" sldId="792"/>
            <ac:spMk id="147" creationId="{CEAB10E4-413C-433D-AE87-506ED816AB5B}"/>
          </ac:spMkLst>
        </pc:spChg>
        <pc:spChg chg="mod">
          <ac:chgData name="Lisa Udet (CH)" userId="48da7849-2f5c-4153-9706-f81e95798e41" providerId="ADAL" clId="{AAF3F1A4-517C-44E0-AFD3-1D728F916382}" dt="2021-04-19T08:34:31.231" v="0" actId="2711"/>
          <ac:spMkLst>
            <pc:docMk/>
            <pc:sldMk cId="2939989086" sldId="792"/>
            <ac:spMk id="150" creationId="{EDAB90C5-5D60-4CB6-A662-E18B45237726}"/>
          </ac:spMkLst>
        </pc:spChg>
        <pc:spChg chg="mod">
          <ac:chgData name="Lisa Udet (CH)" userId="48da7849-2f5c-4153-9706-f81e95798e41" providerId="ADAL" clId="{AAF3F1A4-517C-44E0-AFD3-1D728F916382}" dt="2021-04-19T08:34:39.322" v="1" actId="114"/>
          <ac:spMkLst>
            <pc:docMk/>
            <pc:sldMk cId="2939989086" sldId="792"/>
            <ac:spMk id="151" creationId="{0201E308-F4CA-4AB3-B4C4-51FB4DEA502A}"/>
          </ac:spMkLst>
        </pc:spChg>
        <pc:spChg chg="mod">
          <ac:chgData name="Lisa Udet (CH)" userId="48da7849-2f5c-4153-9706-f81e95798e41" providerId="ADAL" clId="{AAF3F1A4-517C-44E0-AFD3-1D728F916382}" dt="2021-04-19T08:34:44.226" v="3" actId="114"/>
          <ac:spMkLst>
            <pc:docMk/>
            <pc:sldMk cId="2939989086" sldId="792"/>
            <ac:spMk id="152" creationId="{A58B8885-392D-44CC-95A8-A025CBF40875}"/>
          </ac:spMkLst>
        </pc:spChg>
        <pc:grpChg chg="mod">
          <ac:chgData name="Lisa Udet (CH)" userId="48da7849-2f5c-4153-9706-f81e95798e41" providerId="ADAL" clId="{AAF3F1A4-517C-44E0-AFD3-1D728F916382}" dt="2021-04-19T08:34:31.231" v="0" actId="2711"/>
          <ac:grpSpMkLst>
            <pc:docMk/>
            <pc:sldMk cId="2939989086" sldId="792"/>
            <ac:grpSpMk id="20" creationId="{388C6450-F40C-4562-93A2-8FA36871E46C}"/>
          </ac:grpSpMkLst>
        </pc:grp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5" creationId="{1ADBA7BD-BA17-4CF0-B21B-9393A2B1927E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9" creationId="{119531D4-687D-48D4-ADA2-B35B2CD0F6DF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26" creationId="{26F8D347-F6FF-4C61-992D-A448529431BA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29" creationId="{75748A18-E77E-457B-BAD8-9EFA90B6FCC4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46" creationId="{BFA2FA2D-04BB-41F2-8A90-4A41C15003FD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49" creationId="{98F76BF5-1F0F-4C3C-94D8-9F14D73A850B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55" creationId="{8E603995-939B-4804-88ED-56CC67355132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65" creationId="{696A5A42-BECD-4E15-894B-651950990357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75" creationId="{21F897AC-57C1-4FB8-80BC-A896B6C3CCB9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89" creationId="{20540971-4041-4298-BAE6-D34A91B1C8DC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103" creationId="{801DC340-547A-4248-910B-667651A3FB54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132" creationId="{0DFAB181-AC61-425E-BFB2-3CD6A98976EA}"/>
          </ac:cxnSpMkLst>
        </pc:cxnChg>
        <pc:cxnChg chg="mod">
          <ac:chgData name="Lisa Udet (CH)" userId="48da7849-2f5c-4153-9706-f81e95798e41" providerId="ADAL" clId="{AAF3F1A4-517C-44E0-AFD3-1D728F916382}" dt="2021-04-19T08:34:31.231" v="0" actId="2711"/>
          <ac:cxnSpMkLst>
            <pc:docMk/>
            <pc:sldMk cId="2939989086" sldId="792"/>
            <ac:cxnSpMk id="159" creationId="{5E23E72C-BDE7-4A8C-93CB-E9F9A4409548}"/>
          </ac:cxnSpMkLst>
        </pc:cxnChg>
      </pc:sldChg>
    </pc:docChg>
  </pc:docChgLst>
  <pc:docChgLst>
    <pc:chgData name="Patrick Spielmann (CH)" userId="0a0820a8-bba6-4718-9f24-0a3181de1f33" providerId="ADAL" clId="{AE837B21-0129-4DE1-AB1A-A0B85D5F7F66}"/>
    <pc:docChg chg="undo custSel addSld delSld modSld">
      <pc:chgData name="Patrick Spielmann (CH)" userId="0a0820a8-bba6-4718-9f24-0a3181de1f33" providerId="ADAL" clId="{AE837B21-0129-4DE1-AB1A-A0B85D5F7F66}" dt="2021-02-23T15:28:43.362" v="1539" actId="20577"/>
      <pc:docMkLst>
        <pc:docMk/>
      </pc:docMkLst>
      <pc:sldChg chg="del">
        <pc:chgData name="Patrick Spielmann (CH)" userId="0a0820a8-bba6-4718-9f24-0a3181de1f33" providerId="ADAL" clId="{AE837B21-0129-4DE1-AB1A-A0B85D5F7F66}" dt="2021-02-19T10:30:39.137" v="9" actId="2696"/>
        <pc:sldMkLst>
          <pc:docMk/>
          <pc:sldMk cId="109857222" sldId="256"/>
        </pc:sldMkLst>
      </pc:sldChg>
      <pc:sldChg chg="modSp add del">
        <pc:chgData name="Patrick Spielmann (CH)" userId="0a0820a8-bba6-4718-9f24-0a3181de1f33" providerId="ADAL" clId="{AE837B21-0129-4DE1-AB1A-A0B85D5F7F66}" dt="2021-02-19T10:30:53.995" v="19"/>
        <pc:sldMkLst>
          <pc:docMk/>
          <pc:sldMk cId="1333162615" sldId="762"/>
        </pc:sldMkLst>
        <pc:spChg chg="mod">
          <ac:chgData name="Patrick Spielmann (CH)" userId="0a0820a8-bba6-4718-9f24-0a3181de1f33" providerId="ADAL" clId="{AE837B21-0129-4DE1-AB1A-A0B85D5F7F66}" dt="2021-02-19T10:30:53.995" v="19"/>
          <ac:spMkLst>
            <pc:docMk/>
            <pc:sldMk cId="1333162615" sldId="762"/>
            <ac:spMk id="3" creationId="{6D52311B-4B95-4B2F-9543-294055774C84}"/>
          </ac:spMkLst>
        </pc:spChg>
      </pc:sldChg>
      <pc:sldChg chg="modSp add del">
        <pc:chgData name="Patrick Spielmann (CH)" userId="0a0820a8-bba6-4718-9f24-0a3181de1f33" providerId="ADAL" clId="{AE837B21-0129-4DE1-AB1A-A0B85D5F7F66}" dt="2021-02-23T14:39:12.406" v="62" actId="20577"/>
        <pc:sldMkLst>
          <pc:docMk/>
          <pc:sldMk cId="3266619330" sldId="790"/>
        </pc:sldMkLst>
        <pc:spChg chg="mod">
          <ac:chgData name="Patrick Spielmann (CH)" userId="0a0820a8-bba6-4718-9f24-0a3181de1f33" providerId="ADAL" clId="{AE837B21-0129-4DE1-AB1A-A0B85D5F7F66}" dt="2021-02-23T14:38:52.105" v="32" actId="20577"/>
          <ac:spMkLst>
            <pc:docMk/>
            <pc:sldMk cId="3266619330" sldId="790"/>
            <ac:spMk id="2" creationId="{72389DEF-BBC8-4154-BC30-204D0AF756B5}"/>
          </ac:spMkLst>
        </pc:spChg>
        <pc:spChg chg="mod">
          <ac:chgData name="Patrick Spielmann (CH)" userId="0a0820a8-bba6-4718-9f24-0a3181de1f33" providerId="ADAL" clId="{AE837B21-0129-4DE1-AB1A-A0B85D5F7F66}" dt="2021-02-23T14:39:12.406" v="62" actId="20577"/>
          <ac:spMkLst>
            <pc:docMk/>
            <pc:sldMk cId="3266619330" sldId="790"/>
            <ac:spMk id="3" creationId="{9156829D-A396-45AB-98BB-32E5B72D4E1A}"/>
          </ac:spMkLst>
        </pc:spChg>
      </pc:sldChg>
      <pc:sldChg chg="add del">
        <pc:chgData name="Patrick Spielmann (CH)" userId="0a0820a8-bba6-4718-9f24-0a3181de1f33" providerId="ADAL" clId="{AE837B21-0129-4DE1-AB1A-A0B85D5F7F66}" dt="2021-02-23T14:37:59.196" v="21" actId="2696"/>
        <pc:sldMkLst>
          <pc:docMk/>
          <pc:sldMk cId="1005779151" sldId="791"/>
        </pc:sldMkLst>
      </pc:sldChg>
      <pc:sldChg chg="add del">
        <pc:chgData name="Patrick Spielmann (CH)" userId="0a0820a8-bba6-4718-9f24-0a3181de1f33" providerId="ADAL" clId="{AE837B21-0129-4DE1-AB1A-A0B85D5F7F66}" dt="2021-02-23T14:38:13.356" v="23" actId="2696"/>
        <pc:sldMkLst>
          <pc:docMk/>
          <pc:sldMk cId="1051197219" sldId="791"/>
        </pc:sldMkLst>
      </pc:sldChg>
      <pc:sldChg chg="delSp modSp add">
        <pc:chgData name="Patrick Spielmann (CH)" userId="0a0820a8-bba6-4718-9f24-0a3181de1f33" providerId="ADAL" clId="{AE837B21-0129-4DE1-AB1A-A0B85D5F7F66}" dt="2021-02-23T15:19:46.915" v="1215" actId="20577"/>
        <pc:sldMkLst>
          <pc:docMk/>
          <pc:sldMk cId="3611725296" sldId="791"/>
        </pc:sldMkLst>
        <pc:spChg chg="mod">
          <ac:chgData name="Patrick Spielmann (CH)" userId="0a0820a8-bba6-4718-9f24-0a3181de1f33" providerId="ADAL" clId="{AE837B21-0129-4DE1-AB1A-A0B85D5F7F66}" dt="2021-02-23T14:39:51.852" v="70" actId="255"/>
          <ac:spMkLst>
            <pc:docMk/>
            <pc:sldMk cId="3611725296" sldId="791"/>
            <ac:spMk id="2" creationId="{3395D10A-EB61-48FB-BCC5-6C436353ABE5}"/>
          </ac:spMkLst>
        </pc:spChg>
        <pc:spChg chg="del">
          <ac:chgData name="Patrick Spielmann (CH)" userId="0a0820a8-bba6-4718-9f24-0a3181de1f33" providerId="ADAL" clId="{AE837B21-0129-4DE1-AB1A-A0B85D5F7F66}" dt="2021-02-23T14:39:55.674" v="71" actId="478"/>
          <ac:spMkLst>
            <pc:docMk/>
            <pc:sldMk cId="3611725296" sldId="791"/>
            <ac:spMk id="4" creationId="{6D6B968F-A4D7-4C05-BF8E-B31996822F0D}"/>
          </ac:spMkLst>
        </pc:spChg>
        <pc:spChg chg="mod">
          <ac:chgData name="Patrick Spielmann (CH)" userId="0a0820a8-bba6-4718-9f24-0a3181de1f33" providerId="ADAL" clId="{AE837B21-0129-4DE1-AB1A-A0B85D5F7F66}" dt="2021-02-23T15:19:46.915" v="1215" actId="20577"/>
          <ac:spMkLst>
            <pc:docMk/>
            <pc:sldMk cId="3611725296" sldId="791"/>
            <ac:spMk id="5" creationId="{C5D210C4-5886-4557-B59B-509FC092FA96}"/>
          </ac:spMkLst>
        </pc:spChg>
      </pc:sldChg>
      <pc:sldChg chg="add del">
        <pc:chgData name="Patrick Spielmann (CH)" userId="0a0820a8-bba6-4718-9f24-0a3181de1f33" providerId="ADAL" clId="{AE837B21-0129-4DE1-AB1A-A0B85D5F7F66}" dt="2021-02-19T10:30:22.803" v="5" actId="2696"/>
        <pc:sldMkLst>
          <pc:docMk/>
          <pc:sldMk cId="3685993206" sldId="791"/>
        </pc:sldMkLst>
      </pc:sldChg>
      <pc:sldChg chg="add del">
        <pc:chgData name="Patrick Spielmann (CH)" userId="0a0820a8-bba6-4718-9f24-0a3181de1f33" providerId="ADAL" clId="{AE837B21-0129-4DE1-AB1A-A0B85D5F7F66}" dt="2021-02-23T14:38:29.584" v="25" actId="2696"/>
        <pc:sldMkLst>
          <pc:docMk/>
          <pc:sldMk cId="3761062376" sldId="791"/>
        </pc:sldMkLst>
      </pc:sldChg>
      <pc:sldChg chg="add del">
        <pc:chgData name="Patrick Spielmann (CH)" userId="0a0820a8-bba6-4718-9f24-0a3181de1f33" providerId="ADAL" clId="{AE837B21-0129-4DE1-AB1A-A0B85D5F7F66}" dt="2021-02-23T14:43:18.887" v="162" actId="2696"/>
        <pc:sldMkLst>
          <pc:docMk/>
          <pc:sldMk cId="112515955" sldId="792"/>
        </pc:sldMkLst>
      </pc:sldChg>
      <pc:sldChg chg="addSp delSp modSp add">
        <pc:chgData name="Patrick Spielmann (CH)" userId="0a0820a8-bba6-4718-9f24-0a3181de1f33" providerId="ADAL" clId="{AE837B21-0129-4DE1-AB1A-A0B85D5F7F66}" dt="2021-02-23T15:27:09.987" v="1495" actId="20577"/>
        <pc:sldMkLst>
          <pc:docMk/>
          <pc:sldMk cId="2939989086" sldId="792"/>
        </pc:sldMkLst>
        <pc:spChg chg="mod">
          <ac:chgData name="Patrick Spielmann (CH)" userId="0a0820a8-bba6-4718-9f24-0a3181de1f33" providerId="ADAL" clId="{AE837B21-0129-4DE1-AB1A-A0B85D5F7F66}" dt="2021-02-23T15:11:54.425" v="991" actId="1076"/>
          <ac:spMkLst>
            <pc:docMk/>
            <pc:sldMk cId="2939989086" sldId="792"/>
            <ac:spMk id="2" creationId="{D2CCEE02-B407-4BB1-8A24-999D128008DF}"/>
          </ac:spMkLst>
        </pc:spChg>
        <pc:spChg chg="del">
          <ac:chgData name="Patrick Spielmann (CH)" userId="0a0820a8-bba6-4718-9f24-0a3181de1f33" providerId="ADAL" clId="{AE837B21-0129-4DE1-AB1A-A0B85D5F7F66}" dt="2021-02-23T14:43:59.318" v="207" actId="478"/>
          <ac:spMkLst>
            <pc:docMk/>
            <pc:sldMk cId="2939989086" sldId="792"/>
            <ac:spMk id="3" creationId="{F7ACAB8F-3B86-4C3D-8B9E-575062934B54}"/>
          </ac:spMkLst>
        </pc:spChg>
        <pc:spChg chg="del mod">
          <ac:chgData name="Patrick Spielmann (CH)" userId="0a0820a8-bba6-4718-9f24-0a3181de1f33" providerId="ADAL" clId="{AE837B21-0129-4DE1-AB1A-A0B85D5F7F66}" dt="2021-02-23T14:47:16.659" v="323" actId="478"/>
          <ac:spMkLst>
            <pc:docMk/>
            <pc:sldMk cId="2939989086" sldId="792"/>
            <ac:spMk id="4" creationId="{C503A1A4-4EED-4ABC-B149-81B3DE67D30B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6" creationId="{759A6B51-1C06-4284-B6EF-19FEEF5EF920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9" creationId="{22D81E9A-E4C4-4DE7-80AC-C0E30CDF2FD5}"/>
          </ac:spMkLst>
        </pc:spChg>
        <pc:spChg chg="add del mod">
          <ac:chgData name="Patrick Spielmann (CH)" userId="0a0820a8-bba6-4718-9f24-0a3181de1f33" providerId="ADAL" clId="{AE837B21-0129-4DE1-AB1A-A0B85D5F7F66}" dt="2021-02-23T14:49:31.523" v="414" actId="478"/>
          <ac:spMkLst>
            <pc:docMk/>
            <pc:sldMk cId="2939989086" sldId="792"/>
            <ac:spMk id="10" creationId="{CC90BA62-8989-4BF7-B022-DADEC60D53C1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3" creationId="{4BFA7B2D-D454-4475-A2A0-5DF18163E5AD}"/>
          </ac:spMkLst>
        </pc:spChg>
        <pc:spChg chg="add del mod">
          <ac:chgData name="Patrick Spielmann (CH)" userId="0a0820a8-bba6-4718-9f24-0a3181de1f33" providerId="ADAL" clId="{AE837B21-0129-4DE1-AB1A-A0B85D5F7F66}" dt="2021-02-23T14:49:41.798" v="423" actId="478"/>
          <ac:spMkLst>
            <pc:docMk/>
            <pc:sldMk cId="2939989086" sldId="792"/>
            <ac:spMk id="15" creationId="{17228864-6CF3-416B-99DC-A4D36B35EF09}"/>
          </ac:spMkLst>
        </pc:spChg>
        <pc:spChg chg="add del mod">
          <ac:chgData name="Patrick Spielmann (CH)" userId="0a0820a8-bba6-4718-9f24-0a3181de1f33" providerId="ADAL" clId="{AE837B21-0129-4DE1-AB1A-A0B85D5F7F66}" dt="2021-02-23T14:49:34.394" v="417" actId="478"/>
          <ac:spMkLst>
            <pc:docMk/>
            <pc:sldMk cId="2939989086" sldId="792"/>
            <ac:spMk id="17" creationId="{4A22ED73-9E5D-41A0-9D12-EE77E03DC2A0}"/>
          </ac:spMkLst>
        </pc:spChg>
        <pc:spChg chg="add del mod">
          <ac:chgData name="Patrick Spielmann (CH)" userId="0a0820a8-bba6-4718-9f24-0a3181de1f33" providerId="ADAL" clId="{AE837B21-0129-4DE1-AB1A-A0B85D5F7F66}" dt="2021-02-23T14:49:36.893" v="421" actId="478"/>
          <ac:spMkLst>
            <pc:docMk/>
            <pc:sldMk cId="2939989086" sldId="792"/>
            <ac:spMk id="19" creationId="{679F9B3D-AD76-470B-A00C-788EE2E9327E}"/>
          </ac:spMkLst>
        </pc:spChg>
        <pc:spChg chg="mod">
          <ac:chgData name="Patrick Spielmann (CH)" userId="0a0820a8-bba6-4718-9f24-0a3181de1f33" providerId="ADAL" clId="{AE837B21-0129-4DE1-AB1A-A0B85D5F7F66}" dt="2021-02-23T15:09:59.441" v="980" actId="20577"/>
          <ac:spMkLst>
            <pc:docMk/>
            <pc:sldMk cId="2939989086" sldId="792"/>
            <ac:spMk id="23" creationId="{B184A80E-0419-4C7A-82C8-ECE2844E6F47}"/>
          </ac:spMkLst>
        </pc:spChg>
        <pc:spChg chg="add del mod">
          <ac:chgData name="Patrick Spielmann (CH)" userId="0a0820a8-bba6-4718-9f24-0a3181de1f33" providerId="ADAL" clId="{AE837B21-0129-4DE1-AB1A-A0B85D5F7F66}" dt="2021-02-23T14:49:43.113" v="425" actId="478"/>
          <ac:spMkLst>
            <pc:docMk/>
            <pc:sldMk cId="2939989086" sldId="792"/>
            <ac:spMk id="25" creationId="{8E309A61-6870-40C4-BA9D-F462F2C91FEF}"/>
          </ac:spMkLst>
        </pc:spChg>
        <pc:spChg chg="add del mod">
          <ac:chgData name="Patrick Spielmann (CH)" userId="0a0820a8-bba6-4718-9f24-0a3181de1f33" providerId="ADAL" clId="{AE837B21-0129-4DE1-AB1A-A0B85D5F7F66}" dt="2021-02-23T14:49:32.608" v="415" actId="478"/>
          <ac:spMkLst>
            <pc:docMk/>
            <pc:sldMk cId="2939989086" sldId="792"/>
            <ac:spMk id="28" creationId="{C257887C-DDEE-462F-B40A-A9F5DFEE5BE0}"/>
          </ac:spMkLst>
        </pc:spChg>
        <pc:spChg chg="add del mod">
          <ac:chgData name="Patrick Spielmann (CH)" userId="0a0820a8-bba6-4718-9f24-0a3181de1f33" providerId="ADAL" clId="{AE837B21-0129-4DE1-AB1A-A0B85D5F7F66}" dt="2021-02-23T14:49:54.583" v="437" actId="478"/>
          <ac:spMkLst>
            <pc:docMk/>
            <pc:sldMk cId="2939989086" sldId="792"/>
            <ac:spMk id="29" creationId="{C10B0143-44FB-4ABA-82D0-468BD2161F55}"/>
          </ac:spMkLst>
        </pc:spChg>
        <pc:spChg chg="add del mod">
          <ac:chgData name="Patrick Spielmann (CH)" userId="0a0820a8-bba6-4718-9f24-0a3181de1f33" providerId="ADAL" clId="{AE837B21-0129-4DE1-AB1A-A0B85D5F7F66}" dt="2021-02-23T14:49:35.694" v="418" actId="478"/>
          <ac:spMkLst>
            <pc:docMk/>
            <pc:sldMk cId="2939989086" sldId="792"/>
            <ac:spMk id="30" creationId="{3FB9BAE2-F225-4EFB-8B0B-C3E130962DFD}"/>
          </ac:spMkLst>
        </pc:spChg>
        <pc:spChg chg="add del">
          <ac:chgData name="Patrick Spielmann (CH)" userId="0a0820a8-bba6-4718-9f24-0a3181de1f33" providerId="ADAL" clId="{AE837B21-0129-4DE1-AB1A-A0B85D5F7F66}" dt="2021-02-23T14:47:01.520" v="318" actId="478"/>
          <ac:spMkLst>
            <pc:docMk/>
            <pc:sldMk cId="2939989086" sldId="792"/>
            <ac:spMk id="32" creationId="{37A3BB78-0799-4403-B6A0-F3E0E2982AF7}"/>
          </ac:spMkLst>
        </pc:spChg>
        <pc:spChg chg="add del">
          <ac:chgData name="Patrick Spielmann (CH)" userId="0a0820a8-bba6-4718-9f24-0a3181de1f33" providerId="ADAL" clId="{AE837B21-0129-4DE1-AB1A-A0B85D5F7F66}" dt="2021-02-23T14:47:03.124" v="319" actId="478"/>
          <ac:spMkLst>
            <pc:docMk/>
            <pc:sldMk cId="2939989086" sldId="792"/>
            <ac:spMk id="34" creationId="{5A3FF19E-D7FF-4401-BEAB-AD67A0801B9F}"/>
          </ac:spMkLst>
        </pc:spChg>
        <pc:spChg chg="add del mod">
          <ac:chgData name="Patrick Spielmann (CH)" userId="0a0820a8-bba6-4718-9f24-0a3181de1f33" providerId="ADAL" clId="{AE837B21-0129-4DE1-AB1A-A0B85D5F7F66}" dt="2021-02-23T14:49:52.891" v="435" actId="478"/>
          <ac:spMkLst>
            <pc:docMk/>
            <pc:sldMk cId="2939989086" sldId="792"/>
            <ac:spMk id="35" creationId="{FE0795B3-0818-4CD4-8962-3F8AB6DA4B66}"/>
          </ac:spMkLst>
        </pc:spChg>
        <pc:spChg chg="add del mod">
          <ac:chgData name="Patrick Spielmann (CH)" userId="0a0820a8-bba6-4718-9f24-0a3181de1f33" providerId="ADAL" clId="{AE837B21-0129-4DE1-AB1A-A0B85D5F7F66}" dt="2021-02-23T14:49:51.461" v="433" actId="478"/>
          <ac:spMkLst>
            <pc:docMk/>
            <pc:sldMk cId="2939989086" sldId="792"/>
            <ac:spMk id="36" creationId="{7F872ECB-5A67-49AF-98D3-6DE2252C6E9E}"/>
          </ac:spMkLst>
        </pc:spChg>
        <pc:spChg chg="add del mod">
          <ac:chgData name="Patrick Spielmann (CH)" userId="0a0820a8-bba6-4718-9f24-0a3181de1f33" providerId="ADAL" clId="{AE837B21-0129-4DE1-AB1A-A0B85D5F7F66}" dt="2021-02-23T14:49:48.864" v="431" actId="478"/>
          <ac:spMkLst>
            <pc:docMk/>
            <pc:sldMk cId="2939989086" sldId="792"/>
            <ac:spMk id="37" creationId="{00510BD3-C0FD-4F0E-BAE0-40D43ACAC83B}"/>
          </ac:spMkLst>
        </pc:spChg>
        <pc:spChg chg="add del mod">
          <ac:chgData name="Patrick Spielmann (CH)" userId="0a0820a8-bba6-4718-9f24-0a3181de1f33" providerId="ADAL" clId="{AE837B21-0129-4DE1-AB1A-A0B85D5F7F66}" dt="2021-02-23T14:49:50.502" v="432" actId="478"/>
          <ac:spMkLst>
            <pc:docMk/>
            <pc:sldMk cId="2939989086" sldId="792"/>
            <ac:spMk id="40" creationId="{27275A45-41D8-41F4-94E3-F560C1F21164}"/>
          </ac:spMkLst>
        </pc:spChg>
        <pc:spChg chg="add del mod">
          <ac:chgData name="Patrick Spielmann (CH)" userId="0a0820a8-bba6-4718-9f24-0a3181de1f33" providerId="ADAL" clId="{AE837B21-0129-4DE1-AB1A-A0B85D5F7F66}" dt="2021-02-23T14:49:43.779" v="426" actId="478"/>
          <ac:spMkLst>
            <pc:docMk/>
            <pc:sldMk cId="2939989086" sldId="792"/>
            <ac:spMk id="43" creationId="{3A8EF846-C848-4EB9-95C2-0D2A2424BD12}"/>
          </ac:spMkLst>
        </pc:spChg>
        <pc:spChg chg="add del mod">
          <ac:chgData name="Patrick Spielmann (CH)" userId="0a0820a8-bba6-4718-9f24-0a3181de1f33" providerId="ADAL" clId="{AE837B21-0129-4DE1-AB1A-A0B85D5F7F66}" dt="2021-02-23T14:49:42.559" v="424" actId="478"/>
          <ac:spMkLst>
            <pc:docMk/>
            <pc:sldMk cId="2939989086" sldId="792"/>
            <ac:spMk id="45" creationId="{653570E5-E3E3-4476-A075-5CFCB7CD1718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48" creationId="{ACD669E5-1525-41CB-8900-E52C962CAB11}"/>
          </ac:spMkLst>
        </pc:spChg>
        <pc:spChg chg="add del mod">
          <ac:chgData name="Patrick Spielmann (CH)" userId="0a0820a8-bba6-4718-9f24-0a3181de1f33" providerId="ADAL" clId="{AE837B21-0129-4DE1-AB1A-A0B85D5F7F66}" dt="2021-02-23T15:00:58.277" v="765" actId="478"/>
          <ac:spMkLst>
            <pc:docMk/>
            <pc:sldMk cId="2939989086" sldId="792"/>
            <ac:spMk id="51" creationId="{976B8427-04AD-4BE2-AE01-78E3F5D82CEC}"/>
          </ac:spMkLst>
        </pc:spChg>
        <pc:spChg chg="add del mod">
          <ac:chgData name="Patrick Spielmann (CH)" userId="0a0820a8-bba6-4718-9f24-0a3181de1f33" providerId="ADAL" clId="{AE837B21-0129-4DE1-AB1A-A0B85D5F7F66}" dt="2021-02-23T15:09:19.334" v="953" actId="478"/>
          <ac:spMkLst>
            <pc:docMk/>
            <pc:sldMk cId="2939989086" sldId="792"/>
            <ac:spMk id="62" creationId="{C7E776B8-8DC2-4BE5-95F4-0D9579CD3973}"/>
          </ac:spMkLst>
        </pc:spChg>
        <pc:spChg chg="add del mod">
          <ac:chgData name="Patrick Spielmann (CH)" userId="0a0820a8-bba6-4718-9f24-0a3181de1f33" providerId="ADAL" clId="{AE837B21-0129-4DE1-AB1A-A0B85D5F7F66}" dt="2021-02-23T15:02:50.583" v="790" actId="478"/>
          <ac:spMkLst>
            <pc:docMk/>
            <pc:sldMk cId="2939989086" sldId="792"/>
            <ac:spMk id="92" creationId="{A0DD7D1B-A305-40FD-866A-B928ABF48E73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93" creationId="{FB6ABD2B-B79B-4F20-9106-CDE93501957C}"/>
          </ac:spMkLst>
        </pc:spChg>
        <pc:spChg chg="add del mod">
          <ac:chgData name="Patrick Spielmann (CH)" userId="0a0820a8-bba6-4718-9f24-0a3181de1f33" providerId="ADAL" clId="{AE837B21-0129-4DE1-AB1A-A0B85D5F7F66}" dt="2021-02-23T15:04:38.765" v="887" actId="478"/>
          <ac:spMkLst>
            <pc:docMk/>
            <pc:sldMk cId="2939989086" sldId="792"/>
            <ac:spMk id="99" creationId="{E7CBD69D-A2C8-4456-9ABF-597BD970BF09}"/>
          </ac:spMkLst>
        </pc:spChg>
        <pc:spChg chg="add mod">
          <ac:chgData name="Patrick Spielmann (CH)" userId="0a0820a8-bba6-4718-9f24-0a3181de1f33" providerId="ADAL" clId="{AE837B21-0129-4DE1-AB1A-A0B85D5F7F66}" dt="2021-02-23T15:27:09.987" v="1495" actId="20577"/>
          <ac:spMkLst>
            <pc:docMk/>
            <pc:sldMk cId="2939989086" sldId="792"/>
            <ac:spMk id="100" creationId="{F44F41C7-05F8-4688-8722-34EE4AD20AD1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15" creationId="{DA0C35A7-04F5-42C3-98DA-CD1CC214C75B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23" creationId="{5B554736-901B-4808-A177-EC7C6086EFFB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44" creationId="{28B70DA6-8DB0-472F-8B89-B2B20A23B34A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48" creationId="{AD644521-1736-4FFE-8227-AC9FC6A343A4}"/>
          </ac:spMkLst>
        </pc:spChg>
        <pc:spChg chg="add del mod">
          <ac:chgData name="Patrick Spielmann (CH)" userId="0a0820a8-bba6-4718-9f24-0a3181de1f33" providerId="ADAL" clId="{AE837B21-0129-4DE1-AB1A-A0B85D5F7F66}" dt="2021-02-23T15:15:17.070" v="1041"/>
          <ac:spMkLst>
            <pc:docMk/>
            <pc:sldMk cId="2939989086" sldId="792"/>
            <ac:spMk id="152" creationId="{D2A75D1D-845F-44A1-8B1F-AEF80A929003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53" creationId="{55B42AA5-4629-44E6-8CD7-60AFBC5F598A}"/>
          </ac:spMkLst>
        </pc:spChg>
        <pc:spChg chg="add mod">
          <ac:chgData name="Patrick Spielmann (CH)" userId="0a0820a8-bba6-4718-9f24-0a3181de1f33" providerId="ADAL" clId="{AE837B21-0129-4DE1-AB1A-A0B85D5F7F66}" dt="2021-02-23T15:24:59.182" v="1305" actId="1076"/>
          <ac:spMkLst>
            <pc:docMk/>
            <pc:sldMk cId="2939989086" sldId="792"/>
            <ac:spMk id="158" creationId="{F9E563FE-5751-4764-82B5-2AFA395BAF2B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66" creationId="{6F8CBE2C-0157-4A04-ACEF-2AA8F3CFDD91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67" creationId="{C1A9CE46-8DD2-4806-8596-D12D0833109D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69" creationId="{F63A566D-F2CA-4F9B-B28A-1B7C0CFE4EF5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74" creationId="{8CC48C07-7E35-4CD9-9DFC-88683D416195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79" creationId="{04422080-CAC0-438A-A88B-3E9B9ABB3E01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80" creationId="{E44815DB-42C7-496A-8BC9-1E26FA0B769F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83" creationId="{4E6B4BDD-D953-4F81-A47B-E010567F99E4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85" creationId="{D8F1379A-C88F-4938-9556-E17098D8065C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86" creationId="{A8289217-64C8-4354-822F-D79E5F38281C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88" creationId="{D8E753E5-B2D7-4EE1-837A-750A35F39366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90" creationId="{845EBEAE-2640-4537-AB6E-B677F8D13358}"/>
          </ac:spMkLst>
        </pc:spChg>
        <pc:spChg chg="add mod">
          <ac:chgData name="Patrick Spielmann (CH)" userId="0a0820a8-bba6-4718-9f24-0a3181de1f33" providerId="ADAL" clId="{AE837B21-0129-4DE1-AB1A-A0B85D5F7F66}" dt="2021-02-23T15:24:52.876" v="1304" actId="571"/>
          <ac:spMkLst>
            <pc:docMk/>
            <pc:sldMk cId="2939989086" sldId="792"/>
            <ac:spMk id="192" creationId="{2A1DD917-4FC3-41EC-918C-6973395C2FB6}"/>
          </ac:spMkLst>
        </pc:spChg>
        <pc:grpChg chg="add mod">
          <ac:chgData name="Patrick Spielmann (CH)" userId="0a0820a8-bba6-4718-9f24-0a3181de1f33" providerId="ADAL" clId="{AE837B21-0129-4DE1-AB1A-A0B85D5F7F66}" dt="2021-02-23T15:24:59.182" v="1305" actId="1076"/>
          <ac:grpSpMkLst>
            <pc:docMk/>
            <pc:sldMk cId="2939989086" sldId="792"/>
            <ac:grpSpMk id="20" creationId="{388C6450-F40C-4562-93A2-8FA36871E46C}"/>
          </ac:grpSpMkLst>
        </pc:grpChg>
        <pc:grpChg chg="add mod">
          <ac:chgData name="Patrick Spielmann (CH)" userId="0a0820a8-bba6-4718-9f24-0a3181de1f33" providerId="ADAL" clId="{AE837B21-0129-4DE1-AB1A-A0B85D5F7F66}" dt="2021-02-23T15:24:52.876" v="1304" actId="571"/>
          <ac:grpSpMkLst>
            <pc:docMk/>
            <pc:sldMk cId="2939989086" sldId="792"/>
            <ac:grpSpMk id="170" creationId="{AFAA1323-8306-46F9-80AC-26E4A421ACE2}"/>
          </ac:grpSpMkLst>
        </pc:grp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5" creationId="{1ADBA7BD-BA17-4CF0-B21B-9393A2B1927E}"/>
          </ac:cxnSpMkLst>
        </pc:cxnChg>
        <pc:cxnChg chg="add del">
          <ac:chgData name="Patrick Spielmann (CH)" userId="0a0820a8-bba6-4718-9f24-0a3181de1f33" providerId="ADAL" clId="{AE837B21-0129-4DE1-AB1A-A0B85D5F7F66}" dt="2021-02-23T14:47:05.491" v="321" actId="478"/>
          <ac:cxnSpMkLst>
            <pc:docMk/>
            <pc:sldMk cId="2939989086" sldId="792"/>
            <ac:cxnSpMk id="7" creationId="{FE846E85-F252-40B6-BBD7-236411EE2B0C}"/>
          </ac:cxnSpMkLst>
        </pc:cxnChg>
        <pc:cxnChg chg="add del">
          <ac:chgData name="Patrick Spielmann (CH)" userId="0a0820a8-bba6-4718-9f24-0a3181de1f33" providerId="ADAL" clId="{AE837B21-0129-4DE1-AB1A-A0B85D5F7F66}" dt="2021-02-23T14:47:19.621" v="324" actId="478"/>
          <ac:cxnSpMkLst>
            <pc:docMk/>
            <pc:sldMk cId="2939989086" sldId="792"/>
            <ac:cxnSpMk id="8" creationId="{C633A1D9-AC75-4DF3-87D7-3AEEAFB2E38A}"/>
          </ac:cxnSpMkLst>
        </pc:cxnChg>
        <pc:cxnChg chg="add del mod">
          <ac:chgData name="Patrick Spielmann (CH)" userId="0a0820a8-bba6-4718-9f24-0a3181de1f33" providerId="ADAL" clId="{AE837B21-0129-4DE1-AB1A-A0B85D5F7F66}" dt="2021-02-23T15:05:20.015" v="901" actId="478"/>
          <ac:cxnSpMkLst>
            <pc:docMk/>
            <pc:sldMk cId="2939989086" sldId="792"/>
            <ac:cxnSpMk id="11" creationId="{5543135E-D1C5-4621-AF6E-8F8D344240ED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2" creationId="{7BF87012-F4BC-4ACB-A6A1-1BD41F27DF27}"/>
          </ac:cxnSpMkLst>
        </pc:cxnChg>
        <pc:cxnChg chg="add del mod">
          <ac:chgData name="Patrick Spielmann (CH)" userId="0a0820a8-bba6-4718-9f24-0a3181de1f33" providerId="ADAL" clId="{AE837B21-0129-4DE1-AB1A-A0B85D5F7F66}" dt="2021-02-23T14:52:37.775" v="515" actId="478"/>
          <ac:cxnSpMkLst>
            <pc:docMk/>
            <pc:sldMk cId="2939989086" sldId="792"/>
            <ac:cxnSpMk id="14" creationId="{D05FDDB1-92A9-4FD5-A39A-2A6CFEACEF23}"/>
          </ac:cxnSpMkLst>
        </pc:cxnChg>
        <pc:cxnChg chg="add del mod">
          <ac:chgData name="Patrick Spielmann (CH)" userId="0a0820a8-bba6-4718-9f24-0a3181de1f33" providerId="ADAL" clId="{AE837B21-0129-4DE1-AB1A-A0B85D5F7F66}" dt="2021-02-23T14:50:13.555" v="476" actId="478"/>
          <ac:cxnSpMkLst>
            <pc:docMk/>
            <pc:sldMk cId="2939989086" sldId="792"/>
            <ac:cxnSpMk id="16" creationId="{58820B73-CB43-4C11-9B3F-56DA29F14D6E}"/>
          </ac:cxnSpMkLst>
        </pc:cxnChg>
        <pc:cxnChg chg="add del mod">
          <ac:chgData name="Patrick Spielmann (CH)" userId="0a0820a8-bba6-4718-9f24-0a3181de1f33" providerId="ADAL" clId="{AE837B21-0129-4DE1-AB1A-A0B85D5F7F66}" dt="2021-02-23T14:49:37.739" v="422" actId="478"/>
          <ac:cxnSpMkLst>
            <pc:docMk/>
            <pc:sldMk cId="2939989086" sldId="792"/>
            <ac:cxnSpMk id="18" creationId="{377F4CE2-487E-4426-8098-72834D3B5689}"/>
          </ac:cxnSpMkLst>
        </pc:cxnChg>
        <pc:cxnChg chg="add del mod">
          <ac:chgData name="Patrick Spielmann (CH)" userId="0a0820a8-bba6-4718-9f24-0a3181de1f33" providerId="ADAL" clId="{AE837B21-0129-4DE1-AB1A-A0B85D5F7F66}" dt="2021-02-23T14:52:38.910" v="516" actId="478"/>
          <ac:cxnSpMkLst>
            <pc:docMk/>
            <pc:sldMk cId="2939989086" sldId="792"/>
            <ac:cxnSpMk id="24" creationId="{8CCFC9CA-66FD-4318-9CFD-640858F158F3}"/>
          </ac:cxnSpMkLst>
        </pc:cxnChg>
        <pc:cxnChg chg="add del mod">
          <ac:chgData name="Patrick Spielmann (CH)" userId="0a0820a8-bba6-4718-9f24-0a3181de1f33" providerId="ADAL" clId="{AE837B21-0129-4DE1-AB1A-A0B85D5F7F66}" dt="2021-02-23T14:49:44.964" v="428" actId="478"/>
          <ac:cxnSpMkLst>
            <pc:docMk/>
            <pc:sldMk cId="2939989086" sldId="792"/>
            <ac:cxnSpMk id="26" creationId="{79C8BD1A-37C0-40EB-BCCB-E1FC089E455D}"/>
          </ac:cxnSpMkLst>
        </pc:cxnChg>
        <pc:cxnChg chg="add del mod">
          <ac:chgData name="Patrick Spielmann (CH)" userId="0a0820a8-bba6-4718-9f24-0a3181de1f33" providerId="ADAL" clId="{AE837B21-0129-4DE1-AB1A-A0B85D5F7F66}" dt="2021-02-23T14:49:33.490" v="416" actId="478"/>
          <ac:cxnSpMkLst>
            <pc:docMk/>
            <pc:sldMk cId="2939989086" sldId="792"/>
            <ac:cxnSpMk id="27" creationId="{71853B86-953E-467E-9D8E-9D5C6E50BB53}"/>
          </ac:cxnSpMkLst>
        </pc:cxnChg>
        <pc:cxnChg chg="add del mod">
          <ac:chgData name="Patrick Spielmann (CH)" userId="0a0820a8-bba6-4718-9f24-0a3181de1f33" providerId="ADAL" clId="{AE837B21-0129-4DE1-AB1A-A0B85D5F7F66}" dt="2021-02-23T14:49:36.244" v="419" actId="478"/>
          <ac:cxnSpMkLst>
            <pc:docMk/>
            <pc:sldMk cId="2939989086" sldId="792"/>
            <ac:cxnSpMk id="31" creationId="{CB519061-211C-4459-8360-1DF06C93FB35}"/>
          </ac:cxnSpMkLst>
        </pc:cxnChg>
        <pc:cxnChg chg="add del">
          <ac:chgData name="Patrick Spielmann (CH)" userId="0a0820a8-bba6-4718-9f24-0a3181de1f33" providerId="ADAL" clId="{AE837B21-0129-4DE1-AB1A-A0B85D5F7F66}" dt="2021-02-23T14:47:04.385" v="320" actId="478"/>
          <ac:cxnSpMkLst>
            <pc:docMk/>
            <pc:sldMk cId="2939989086" sldId="792"/>
            <ac:cxnSpMk id="33" creationId="{B42AE91F-9E5F-45C0-9E3E-D0899071C8B5}"/>
          </ac:cxnSpMkLst>
        </pc:cxnChg>
        <pc:cxnChg chg="add del mod">
          <ac:chgData name="Patrick Spielmann (CH)" userId="0a0820a8-bba6-4718-9f24-0a3181de1f33" providerId="ADAL" clId="{AE837B21-0129-4DE1-AB1A-A0B85D5F7F66}" dt="2021-02-23T14:49:52.190" v="434" actId="478"/>
          <ac:cxnSpMkLst>
            <pc:docMk/>
            <pc:sldMk cId="2939989086" sldId="792"/>
            <ac:cxnSpMk id="38" creationId="{E23ADB14-99A8-49AD-A668-210210783CBB}"/>
          </ac:cxnSpMkLst>
        </pc:cxnChg>
        <pc:cxnChg chg="add del mod">
          <ac:chgData name="Patrick Spielmann (CH)" userId="0a0820a8-bba6-4718-9f24-0a3181de1f33" providerId="ADAL" clId="{AE837B21-0129-4DE1-AB1A-A0B85D5F7F66}" dt="2021-02-23T14:49:47.173" v="430" actId="478"/>
          <ac:cxnSpMkLst>
            <pc:docMk/>
            <pc:sldMk cId="2939989086" sldId="792"/>
            <ac:cxnSpMk id="39" creationId="{BBC99100-5F64-48AC-9545-B0EB92A52C75}"/>
          </ac:cxnSpMkLst>
        </pc:cxnChg>
        <pc:cxnChg chg="add del mod">
          <ac:chgData name="Patrick Spielmann (CH)" userId="0a0820a8-bba6-4718-9f24-0a3181de1f33" providerId="ADAL" clId="{AE837B21-0129-4DE1-AB1A-A0B85D5F7F66}" dt="2021-02-23T14:49:53.680" v="436" actId="478"/>
          <ac:cxnSpMkLst>
            <pc:docMk/>
            <pc:sldMk cId="2939989086" sldId="792"/>
            <ac:cxnSpMk id="41" creationId="{3B4455D3-8AA9-4F58-8A0F-75E05E629E7C}"/>
          </ac:cxnSpMkLst>
        </pc:cxnChg>
        <pc:cxnChg chg="add del mod">
          <ac:chgData name="Patrick Spielmann (CH)" userId="0a0820a8-bba6-4718-9f24-0a3181de1f33" providerId="ADAL" clId="{AE837B21-0129-4DE1-AB1A-A0B85D5F7F66}" dt="2021-02-23T14:49:55.223" v="438" actId="478"/>
          <ac:cxnSpMkLst>
            <pc:docMk/>
            <pc:sldMk cId="2939989086" sldId="792"/>
            <ac:cxnSpMk id="42" creationId="{7DD57EB4-CE4A-4788-86AA-51C5C2A3667E}"/>
          </ac:cxnSpMkLst>
        </pc:cxnChg>
        <pc:cxnChg chg="add del mod">
          <ac:chgData name="Patrick Spielmann (CH)" userId="0a0820a8-bba6-4718-9f24-0a3181de1f33" providerId="ADAL" clId="{AE837B21-0129-4DE1-AB1A-A0B85D5F7F66}" dt="2021-02-23T14:49:44.390" v="427" actId="478"/>
          <ac:cxnSpMkLst>
            <pc:docMk/>
            <pc:sldMk cId="2939989086" sldId="792"/>
            <ac:cxnSpMk id="44" creationId="{9DE516E6-4784-4AF0-84BA-F2270DC66FC2}"/>
          </ac:cxnSpMkLst>
        </pc:cxnChg>
        <pc:cxnChg chg="add del mod">
          <ac:chgData name="Patrick Spielmann (CH)" userId="0a0820a8-bba6-4718-9f24-0a3181de1f33" providerId="ADAL" clId="{AE837B21-0129-4DE1-AB1A-A0B85D5F7F66}" dt="2021-02-23T14:49:45.779" v="429" actId="478"/>
          <ac:cxnSpMkLst>
            <pc:docMk/>
            <pc:sldMk cId="2939989086" sldId="792"/>
            <ac:cxnSpMk id="46" creationId="{215123D0-8476-4162-82D8-381BF14AA51C}"/>
          </ac:cxnSpMkLst>
        </pc:cxnChg>
        <pc:cxnChg chg="add del mod">
          <ac:chgData name="Patrick Spielmann (CH)" userId="0a0820a8-bba6-4718-9f24-0a3181de1f33" providerId="ADAL" clId="{AE837B21-0129-4DE1-AB1A-A0B85D5F7F66}" dt="2021-02-23T15:01:06.159" v="768" actId="478"/>
          <ac:cxnSpMkLst>
            <pc:docMk/>
            <pc:sldMk cId="2939989086" sldId="792"/>
            <ac:cxnSpMk id="54" creationId="{F414E091-975A-493A-9583-0C6E35FA2C86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63" creationId="{77C5E586-6247-4314-B277-73A030A892E6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68" creationId="{D52D7FD5-6514-4089-B1C9-EF6184DD34D4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71" creationId="{B91F476C-62FA-4FB8-9428-583543D9ADAF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89" creationId="{20540971-4041-4298-BAE6-D34A91B1C8DC}"/>
          </ac:cxnSpMkLst>
        </pc:cxnChg>
        <pc:cxnChg chg="add del mod">
          <ac:chgData name="Patrick Spielmann (CH)" userId="0a0820a8-bba6-4718-9f24-0a3181de1f33" providerId="ADAL" clId="{AE837B21-0129-4DE1-AB1A-A0B85D5F7F66}" dt="2021-02-23T15:06:03.271" v="913" actId="478"/>
          <ac:cxnSpMkLst>
            <pc:docMk/>
            <pc:sldMk cId="2939989086" sldId="792"/>
            <ac:cxnSpMk id="95" creationId="{A2AB0719-8314-4376-97AA-CBC584A30625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03" creationId="{801DC340-547A-4248-910B-667651A3FB54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08" creationId="{C0E6D9D9-2599-4CFA-9EA3-FC864511612E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16" creationId="{D0797972-A753-4FB4-BF98-A4B9DD4ECB3C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45" creationId="{15D91FE8-889A-475F-A9AB-CD788CD53BA8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49" creationId="{F5EA00E7-0E45-4FB7-8776-3C3C34C2323C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54" creationId="{D12F8AAC-6EB6-4B0C-B466-520497A8B58B}"/>
          </ac:cxnSpMkLst>
        </pc:cxnChg>
        <pc:cxnChg chg="add mod">
          <ac:chgData name="Patrick Spielmann (CH)" userId="0a0820a8-bba6-4718-9f24-0a3181de1f33" providerId="ADAL" clId="{AE837B21-0129-4DE1-AB1A-A0B85D5F7F66}" dt="2021-02-23T15:24:59.182" v="1305" actId="1076"/>
          <ac:cxnSpMkLst>
            <pc:docMk/>
            <pc:sldMk cId="2939989086" sldId="792"/>
            <ac:cxnSpMk id="159" creationId="{5E23E72C-BDE7-4A8C-93CB-E9F9A4409548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65" creationId="{39D8231C-295C-4474-AE9A-1276A6E024FB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68" creationId="{AE0959A0-AA1F-4114-92A9-4704A49C57B5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75" creationId="{30759AAB-96A5-44DB-ABF6-7FDE745B6D38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76" creationId="{7542DDA9-BB87-45C5-A1E7-637FC1E48482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77" creationId="{2DB8E8E1-7848-4651-9F8C-CBB4EB4CDCFD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78" creationId="{6E7E4F9B-A5A9-478F-9FA5-23235031D7E2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81" creationId="{74B8C51A-0BC9-4595-A237-C37344486618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82" creationId="{7CA8C3A7-0A48-4892-B12D-FB3F36D2CA32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84" creationId="{F9777B40-F40C-4EB7-8014-F81DE00183FA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87" creationId="{0F5FAA62-4A15-40BE-8367-7ED079202FCA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89" creationId="{0037D7EA-D076-4356-806E-12304A3D50EF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91" creationId="{41928591-0156-43F7-B593-3185DC7B3272}"/>
          </ac:cxnSpMkLst>
        </pc:cxnChg>
        <pc:cxnChg chg="add mod">
          <ac:chgData name="Patrick Spielmann (CH)" userId="0a0820a8-bba6-4718-9f24-0a3181de1f33" providerId="ADAL" clId="{AE837B21-0129-4DE1-AB1A-A0B85D5F7F66}" dt="2021-02-23T15:24:52.876" v="1304" actId="571"/>
          <ac:cxnSpMkLst>
            <pc:docMk/>
            <pc:sldMk cId="2939989086" sldId="792"/>
            <ac:cxnSpMk id="193" creationId="{FDFB43CE-EAF8-4503-B4FA-754FC25E0252}"/>
          </ac:cxnSpMkLst>
        </pc:cxnChg>
      </pc:sldChg>
      <pc:sldChg chg="add del">
        <pc:chgData name="Patrick Spielmann (CH)" userId="0a0820a8-bba6-4718-9f24-0a3181de1f33" providerId="ADAL" clId="{AE837B21-0129-4DE1-AB1A-A0B85D5F7F66}" dt="2021-02-23T14:43:13.430" v="160" actId="2696"/>
        <pc:sldMkLst>
          <pc:docMk/>
          <pc:sldMk cId="3646354398" sldId="792"/>
        </pc:sldMkLst>
      </pc:sldChg>
      <pc:sldChg chg="modSp add">
        <pc:chgData name="Patrick Spielmann (CH)" userId="0a0820a8-bba6-4718-9f24-0a3181de1f33" providerId="ADAL" clId="{AE837B21-0129-4DE1-AB1A-A0B85D5F7F66}" dt="2021-02-23T14:44:26.889" v="231" actId="20577"/>
        <pc:sldMkLst>
          <pc:docMk/>
          <pc:sldMk cId="928536492" sldId="793"/>
        </pc:sldMkLst>
        <pc:spChg chg="mod">
          <ac:chgData name="Patrick Spielmann (CH)" userId="0a0820a8-bba6-4718-9f24-0a3181de1f33" providerId="ADAL" clId="{AE837B21-0129-4DE1-AB1A-A0B85D5F7F66}" dt="2021-02-23T14:44:26.889" v="231" actId="20577"/>
          <ac:spMkLst>
            <pc:docMk/>
            <pc:sldMk cId="928536492" sldId="793"/>
            <ac:spMk id="2" creationId="{D2CCEE02-B407-4BB1-8A24-999D128008DF}"/>
          </ac:spMkLst>
        </pc:spChg>
      </pc:sldChg>
      <pc:sldChg chg="add del">
        <pc:chgData name="Patrick Spielmann (CH)" userId="0a0820a8-bba6-4718-9f24-0a3181de1f33" providerId="ADAL" clId="{AE837B21-0129-4DE1-AB1A-A0B85D5F7F66}" dt="2021-02-23T14:44:16.228" v="210" actId="2696"/>
        <pc:sldMkLst>
          <pc:docMk/>
          <pc:sldMk cId="3292610126" sldId="793"/>
        </pc:sldMkLst>
      </pc:sldChg>
      <pc:sldChg chg="modSp add">
        <pc:chgData name="Patrick Spielmann (CH)" userId="0a0820a8-bba6-4718-9f24-0a3181de1f33" providerId="ADAL" clId="{AE837B21-0129-4DE1-AB1A-A0B85D5F7F66}" dt="2021-02-23T14:44:37.500" v="247" actId="20577"/>
        <pc:sldMkLst>
          <pc:docMk/>
          <pc:sldMk cId="378886841" sldId="794"/>
        </pc:sldMkLst>
        <pc:spChg chg="mod">
          <ac:chgData name="Patrick Spielmann (CH)" userId="0a0820a8-bba6-4718-9f24-0a3181de1f33" providerId="ADAL" clId="{AE837B21-0129-4DE1-AB1A-A0B85D5F7F66}" dt="2021-02-23T14:44:37.500" v="247" actId="20577"/>
          <ac:spMkLst>
            <pc:docMk/>
            <pc:sldMk cId="378886841" sldId="794"/>
            <ac:spMk id="2" creationId="{D2CCEE02-B407-4BB1-8A24-999D128008DF}"/>
          </ac:spMkLst>
        </pc:spChg>
      </pc:sldChg>
      <pc:sldChg chg="add del">
        <pc:chgData name="Patrick Spielmann (CH)" userId="0a0820a8-bba6-4718-9f24-0a3181de1f33" providerId="ADAL" clId="{AE837B21-0129-4DE1-AB1A-A0B85D5F7F66}" dt="2021-02-23T14:44:16.293" v="211" actId="2696"/>
        <pc:sldMkLst>
          <pc:docMk/>
          <pc:sldMk cId="3156325862" sldId="794"/>
        </pc:sldMkLst>
      </pc:sldChg>
      <pc:sldChg chg="add del">
        <pc:chgData name="Patrick Spielmann (CH)" userId="0a0820a8-bba6-4718-9f24-0a3181de1f33" providerId="ADAL" clId="{AE837B21-0129-4DE1-AB1A-A0B85D5F7F66}" dt="2021-02-23T14:44:16.353" v="212" actId="2696"/>
        <pc:sldMkLst>
          <pc:docMk/>
          <pc:sldMk cId="1068717803" sldId="795"/>
        </pc:sldMkLst>
      </pc:sldChg>
      <pc:sldChg chg="modSp add">
        <pc:chgData name="Patrick Spielmann (CH)" userId="0a0820a8-bba6-4718-9f24-0a3181de1f33" providerId="ADAL" clId="{AE837B21-0129-4DE1-AB1A-A0B85D5F7F66}" dt="2021-02-23T14:44:45.207" v="263" actId="20577"/>
        <pc:sldMkLst>
          <pc:docMk/>
          <pc:sldMk cId="2973419442" sldId="795"/>
        </pc:sldMkLst>
        <pc:spChg chg="mod">
          <ac:chgData name="Patrick Spielmann (CH)" userId="0a0820a8-bba6-4718-9f24-0a3181de1f33" providerId="ADAL" clId="{AE837B21-0129-4DE1-AB1A-A0B85D5F7F66}" dt="2021-02-23T14:44:45.207" v="263" actId="20577"/>
          <ac:spMkLst>
            <pc:docMk/>
            <pc:sldMk cId="2973419442" sldId="795"/>
            <ac:spMk id="2" creationId="{D2CCEE02-B407-4BB1-8A24-999D128008DF}"/>
          </ac:spMkLst>
        </pc:spChg>
      </pc:sldChg>
      <pc:sldChg chg="modSp add">
        <pc:chgData name="Patrick Spielmann (CH)" userId="0a0820a8-bba6-4718-9f24-0a3181de1f33" providerId="ADAL" clId="{AE837B21-0129-4DE1-AB1A-A0B85D5F7F66}" dt="2021-02-23T15:28:43.362" v="1539" actId="20577"/>
        <pc:sldMkLst>
          <pc:docMk/>
          <pc:sldMk cId="2628408683" sldId="796"/>
        </pc:sldMkLst>
        <pc:spChg chg="mod">
          <ac:chgData name="Patrick Spielmann (CH)" userId="0a0820a8-bba6-4718-9f24-0a3181de1f33" providerId="ADAL" clId="{AE837B21-0129-4DE1-AB1A-A0B85D5F7F66}" dt="2021-02-23T15:18:59.044" v="1134" actId="14100"/>
          <ac:spMkLst>
            <pc:docMk/>
            <pc:sldMk cId="2628408683" sldId="796"/>
            <ac:spMk id="2" creationId="{D2CCEE02-B407-4BB1-8A24-999D128008DF}"/>
          </ac:spMkLst>
        </pc:spChg>
        <pc:spChg chg="mod">
          <ac:chgData name="Patrick Spielmann (CH)" userId="0a0820a8-bba6-4718-9f24-0a3181de1f33" providerId="ADAL" clId="{AE837B21-0129-4DE1-AB1A-A0B85D5F7F66}" dt="2021-02-23T15:28:43.362" v="1539" actId="20577"/>
          <ac:spMkLst>
            <pc:docMk/>
            <pc:sldMk cId="2628408683" sldId="796"/>
            <ac:spMk id="4" creationId="{C503A1A4-4EED-4ABC-B149-81B3DE67D30B}"/>
          </ac:spMkLst>
        </pc:spChg>
      </pc:sldChg>
      <pc:sldMasterChg chg="delSldLayout">
        <pc:chgData name="Patrick Spielmann (CH)" userId="0a0820a8-bba6-4718-9f24-0a3181de1f33" providerId="ADAL" clId="{AE837B21-0129-4DE1-AB1A-A0B85D5F7F66}" dt="2021-02-19T10:30:24.309" v="7" actId="2696"/>
        <pc:sldMasterMkLst>
          <pc:docMk/>
          <pc:sldMasterMk cId="2460954070" sldId="2147483660"/>
        </pc:sldMasterMkLst>
        <pc:sldLayoutChg chg="del">
          <pc:chgData name="Patrick Spielmann (CH)" userId="0a0820a8-bba6-4718-9f24-0a3181de1f33" providerId="ADAL" clId="{AE837B21-0129-4DE1-AB1A-A0B85D5F7F66}" dt="2021-02-19T10:30:24.309" v="7" actId="2696"/>
          <pc:sldLayoutMkLst>
            <pc:docMk/>
            <pc:sldMasterMk cId="2460954070" sldId="2147483660"/>
            <pc:sldLayoutMk cId="219716528" sldId="2147483672"/>
          </pc:sldLayoutMkLst>
        </pc:sldLayoutChg>
      </pc:sldMasterChg>
    </pc:docChg>
  </pc:docChgLst>
  <pc:docChgLst>
    <pc:chgData name="Patrick Spielmann (CH)" userId="0a0820a8-bba6-4718-9f24-0a3181de1f33" providerId="ADAL" clId="{784677A6-F4E8-4D25-BDDA-6842A6AFBAAB}"/>
    <pc:docChg chg="undo custSel addSld delSld modSld delMainMaster modMainMaster">
      <pc:chgData name="Patrick Spielmann (CH)" userId="0a0820a8-bba6-4718-9f24-0a3181de1f33" providerId="ADAL" clId="{784677A6-F4E8-4D25-BDDA-6842A6AFBAAB}" dt="2021-03-11T15:11:53.677" v="196" actId="478"/>
      <pc:docMkLst>
        <pc:docMk/>
      </pc:docMkLst>
      <pc:sldChg chg="add del">
        <pc:chgData name="Patrick Spielmann (CH)" userId="0a0820a8-bba6-4718-9f24-0a3181de1f33" providerId="ADAL" clId="{784677A6-F4E8-4D25-BDDA-6842A6AFBAAB}" dt="2021-02-25T09:57:40.670" v="64" actId="2696"/>
        <pc:sldMkLst>
          <pc:docMk/>
          <pc:sldMk cId="3217369753" sldId="326"/>
        </pc:sldMkLst>
      </pc:sldChg>
      <pc:sldChg chg="del">
        <pc:chgData name="Patrick Spielmann (CH)" userId="0a0820a8-bba6-4718-9f24-0a3181de1f33" providerId="ADAL" clId="{784677A6-F4E8-4D25-BDDA-6842A6AFBAAB}" dt="2021-03-11T15:07:22.444" v="132" actId="2696"/>
        <pc:sldMkLst>
          <pc:docMk/>
          <pc:sldMk cId="1333162615" sldId="762"/>
        </pc:sldMkLst>
      </pc:sldChg>
      <pc:sldChg chg="modSp del">
        <pc:chgData name="Patrick Spielmann (CH)" userId="0a0820a8-bba6-4718-9f24-0a3181de1f33" providerId="ADAL" clId="{784677A6-F4E8-4D25-BDDA-6842A6AFBAAB}" dt="2021-03-11T15:07:22.718" v="136" actId="2696"/>
        <pc:sldMkLst>
          <pc:docMk/>
          <pc:sldMk cId="3266619330" sldId="790"/>
        </pc:sldMkLst>
        <pc:spChg chg="mod">
          <ac:chgData name="Patrick Spielmann (CH)" userId="0a0820a8-bba6-4718-9f24-0a3181de1f33" providerId="ADAL" clId="{784677A6-F4E8-4D25-BDDA-6842A6AFBAAB}" dt="2021-02-25T10:00:44.951" v="129" actId="20577"/>
          <ac:spMkLst>
            <pc:docMk/>
            <pc:sldMk cId="3266619330" sldId="790"/>
            <ac:spMk id="3" creationId="{9156829D-A396-45AB-98BB-32E5B72D4E1A}"/>
          </ac:spMkLst>
        </pc:spChg>
      </pc:sldChg>
      <pc:sldChg chg="modSp del">
        <pc:chgData name="Patrick Spielmann (CH)" userId="0a0820a8-bba6-4718-9f24-0a3181de1f33" providerId="ADAL" clId="{784677A6-F4E8-4D25-BDDA-6842A6AFBAAB}" dt="2021-02-23T15:34:42.456" v="10" actId="2696"/>
        <pc:sldMkLst>
          <pc:docMk/>
          <pc:sldMk cId="3611725296" sldId="791"/>
        </pc:sldMkLst>
        <pc:spChg chg="mod">
          <ac:chgData name="Patrick Spielmann (CH)" userId="0a0820a8-bba6-4718-9f24-0a3181de1f33" providerId="ADAL" clId="{784677A6-F4E8-4D25-BDDA-6842A6AFBAAB}" dt="2021-02-23T15:33:37.773" v="0" actId="20577"/>
          <ac:spMkLst>
            <pc:docMk/>
            <pc:sldMk cId="3611725296" sldId="791"/>
            <ac:spMk id="5" creationId="{C5D210C4-5886-4557-B59B-509FC092FA96}"/>
          </ac:spMkLst>
        </pc:spChg>
      </pc:sldChg>
      <pc:sldChg chg="addSp delSp modSp add del">
        <pc:chgData name="Patrick Spielmann (CH)" userId="0a0820a8-bba6-4718-9f24-0a3181de1f33" providerId="ADAL" clId="{784677A6-F4E8-4D25-BDDA-6842A6AFBAAB}" dt="2021-03-11T15:10:58.333" v="156" actId="478"/>
        <pc:sldMkLst>
          <pc:docMk/>
          <pc:sldMk cId="2939989086" sldId="792"/>
        </pc:sldMkLst>
        <pc:spChg chg="add del mod">
          <ac:chgData name="Patrick Spielmann (CH)" userId="0a0820a8-bba6-4718-9f24-0a3181de1f33" providerId="ADAL" clId="{784677A6-F4E8-4D25-BDDA-6842A6AFBAAB}" dt="2021-03-11T15:09:34.726" v="150"/>
          <ac:spMkLst>
            <pc:docMk/>
            <pc:sldMk cId="2939989086" sldId="792"/>
            <ac:spMk id="4" creationId="{088AFA28-5996-4C3F-8689-B2479CBC8472}"/>
          </ac:spMkLst>
        </pc:spChg>
        <pc:spChg chg="add del mod">
          <ac:chgData name="Patrick Spielmann (CH)" userId="0a0820a8-bba6-4718-9f24-0a3181de1f33" providerId="ADAL" clId="{784677A6-F4E8-4D25-BDDA-6842A6AFBAAB}" dt="2021-03-11T15:09:34.726" v="150"/>
          <ac:spMkLst>
            <pc:docMk/>
            <pc:sldMk cId="2939989086" sldId="792"/>
            <ac:spMk id="6" creationId="{7C899B07-EF72-4D09-A8D0-3FF594AD3AD3}"/>
          </ac:spMkLst>
        </pc:spChg>
        <pc:spChg chg="add del mod">
          <ac:chgData name="Patrick Spielmann (CH)" userId="0a0820a8-bba6-4718-9f24-0a3181de1f33" providerId="ADAL" clId="{784677A6-F4E8-4D25-BDDA-6842A6AFBAAB}" dt="2021-03-11T15:09:34.726" v="150"/>
          <ac:spMkLst>
            <pc:docMk/>
            <pc:sldMk cId="2939989086" sldId="792"/>
            <ac:spMk id="7" creationId="{EF3C2287-B7A8-4D66-99FB-C0802F058048}"/>
          </ac:spMkLst>
        </pc:spChg>
        <pc:spChg chg="mod">
          <ac:chgData name="Patrick Spielmann (CH)" userId="0a0820a8-bba6-4718-9f24-0a3181de1f33" providerId="ADAL" clId="{784677A6-F4E8-4D25-BDDA-6842A6AFBAAB}" dt="2021-02-25T09:58:45.039" v="73" actId="20577"/>
          <ac:spMkLst>
            <pc:docMk/>
            <pc:sldMk cId="2939989086" sldId="792"/>
            <ac:spMk id="152" creationId="{A58B8885-392D-44CC-95A8-A025CBF40875}"/>
          </ac:spMkLst>
        </pc:spChg>
        <pc:picChg chg="add del mod">
          <ac:chgData name="Patrick Spielmann (CH)" userId="0a0820a8-bba6-4718-9f24-0a3181de1f33" providerId="ADAL" clId="{784677A6-F4E8-4D25-BDDA-6842A6AFBAAB}" dt="2021-03-11T15:10:58.333" v="156" actId="478"/>
          <ac:picMkLst>
            <pc:docMk/>
            <pc:sldMk cId="2939989086" sldId="792"/>
            <ac:picMk id="3" creationId="{4265BA07-ABE7-4A1C-838C-4CEAC51C6C06}"/>
          </ac:picMkLst>
        </pc:picChg>
      </pc:sldChg>
      <pc:sldChg chg="del">
        <pc:chgData name="Patrick Spielmann (CH)" userId="0a0820a8-bba6-4718-9f24-0a3181de1f33" providerId="ADAL" clId="{784677A6-F4E8-4D25-BDDA-6842A6AFBAAB}" dt="2021-02-23T15:33:51.614" v="3" actId="2696"/>
        <pc:sldMkLst>
          <pc:docMk/>
          <pc:sldMk cId="928536492" sldId="793"/>
        </pc:sldMkLst>
      </pc:sldChg>
      <pc:sldChg chg="del">
        <pc:chgData name="Patrick Spielmann (CH)" userId="0a0820a8-bba6-4718-9f24-0a3181de1f33" providerId="ADAL" clId="{784677A6-F4E8-4D25-BDDA-6842A6AFBAAB}" dt="2021-02-23T15:33:51.663" v="4" actId="2696"/>
        <pc:sldMkLst>
          <pc:docMk/>
          <pc:sldMk cId="378886841" sldId="794"/>
        </pc:sldMkLst>
      </pc:sldChg>
      <pc:sldChg chg="del">
        <pc:chgData name="Patrick Spielmann (CH)" userId="0a0820a8-bba6-4718-9f24-0a3181de1f33" providerId="ADAL" clId="{784677A6-F4E8-4D25-BDDA-6842A6AFBAAB}" dt="2021-02-23T15:33:51.718" v="5" actId="2696"/>
        <pc:sldMkLst>
          <pc:docMk/>
          <pc:sldMk cId="2973419442" sldId="795"/>
        </pc:sldMkLst>
      </pc:sldChg>
      <pc:sldChg chg="modSp del">
        <pc:chgData name="Patrick Spielmann (CH)" userId="0a0820a8-bba6-4718-9f24-0a3181de1f33" providerId="ADAL" clId="{784677A6-F4E8-4D25-BDDA-6842A6AFBAAB}" dt="2021-02-25T09:57:50.730" v="65" actId="2696"/>
        <pc:sldMkLst>
          <pc:docMk/>
          <pc:sldMk cId="2628408683" sldId="796"/>
        </pc:sldMkLst>
        <pc:spChg chg="mod">
          <ac:chgData name="Patrick Spielmann (CH)" userId="0a0820a8-bba6-4718-9f24-0a3181de1f33" providerId="ADAL" clId="{784677A6-F4E8-4D25-BDDA-6842A6AFBAAB}" dt="2021-02-23T15:33:45.656" v="2" actId="20577"/>
          <ac:spMkLst>
            <pc:docMk/>
            <pc:sldMk cId="2628408683" sldId="796"/>
            <ac:spMk id="2" creationId="{D2CCEE02-B407-4BB1-8A24-999D128008DF}"/>
          </ac:spMkLst>
        </pc:spChg>
        <pc:spChg chg="mod">
          <ac:chgData name="Patrick Spielmann (CH)" userId="0a0820a8-bba6-4718-9f24-0a3181de1f33" providerId="ADAL" clId="{784677A6-F4E8-4D25-BDDA-6842A6AFBAAB}" dt="2021-02-23T15:33:43.835" v="1" actId="20577"/>
          <ac:spMkLst>
            <pc:docMk/>
            <pc:sldMk cId="2628408683" sldId="796"/>
            <ac:spMk id="4" creationId="{C503A1A4-4EED-4ABC-B149-81B3DE67D30B}"/>
          </ac:spMkLst>
        </pc:spChg>
      </pc:sldChg>
      <pc:sldChg chg="add del">
        <pc:chgData name="Patrick Spielmann (CH)" userId="0a0820a8-bba6-4718-9f24-0a3181de1f33" providerId="ADAL" clId="{784677A6-F4E8-4D25-BDDA-6842A6AFBAAB}" dt="2021-02-23T15:35:14.190" v="13" actId="2696"/>
        <pc:sldMkLst>
          <pc:docMk/>
          <pc:sldMk cId="1299343060" sldId="797"/>
        </pc:sldMkLst>
      </pc:sldChg>
      <pc:sldChg chg="add del">
        <pc:chgData name="Patrick Spielmann (CH)" userId="0a0820a8-bba6-4718-9f24-0a3181de1f33" providerId="ADAL" clId="{784677A6-F4E8-4D25-BDDA-6842A6AFBAAB}" dt="2021-02-23T15:33:57.426" v="8" actId="2696"/>
        <pc:sldMkLst>
          <pc:docMk/>
          <pc:sldMk cId="3042529430" sldId="797"/>
        </pc:sldMkLst>
      </pc:sldChg>
      <pc:sldChg chg="modSp add del">
        <pc:chgData name="Patrick Spielmann (CH)" userId="0a0820a8-bba6-4718-9f24-0a3181de1f33" providerId="ADAL" clId="{784677A6-F4E8-4D25-BDDA-6842A6AFBAAB}" dt="2021-03-11T15:07:22.660" v="135" actId="2696"/>
        <pc:sldMkLst>
          <pc:docMk/>
          <pc:sldMk cId="3966406226" sldId="797"/>
        </pc:sldMkLst>
        <pc:graphicFrameChg chg="modGraphic">
          <ac:chgData name="Patrick Spielmann (CH)" userId="0a0820a8-bba6-4718-9f24-0a3181de1f33" providerId="ADAL" clId="{784677A6-F4E8-4D25-BDDA-6842A6AFBAAB}" dt="2021-02-25T09:58:15.960" v="70" actId="20577"/>
          <ac:graphicFrameMkLst>
            <pc:docMk/>
            <pc:sldMk cId="3966406226" sldId="797"/>
            <ac:graphicFrameMk id="3" creationId="{43E8F367-2ACA-49C1-BF8F-6E2753008835}"/>
          </ac:graphicFrameMkLst>
        </pc:graphicFrameChg>
      </pc:sldChg>
      <pc:sldChg chg="add del">
        <pc:chgData name="Patrick Spielmann (CH)" userId="0a0820a8-bba6-4718-9f24-0a3181de1f33" providerId="ADAL" clId="{784677A6-F4E8-4D25-BDDA-6842A6AFBAAB}" dt="2021-03-11T15:07:22.656" v="134" actId="2696"/>
        <pc:sldMkLst>
          <pc:docMk/>
          <pc:sldMk cId="736405820" sldId="798"/>
        </pc:sldMkLst>
      </pc:sldChg>
      <pc:sldChg chg="add del">
        <pc:chgData name="Patrick Spielmann (CH)" userId="0a0820a8-bba6-4718-9f24-0a3181de1f33" providerId="ADAL" clId="{784677A6-F4E8-4D25-BDDA-6842A6AFBAAB}" dt="2021-02-23T15:33:57.474" v="9" actId="2696"/>
        <pc:sldMkLst>
          <pc:docMk/>
          <pc:sldMk cId="1110324276" sldId="798"/>
        </pc:sldMkLst>
      </pc:sldChg>
      <pc:sldChg chg="addSp delSp modSp add del">
        <pc:chgData name="Patrick Spielmann (CH)" userId="0a0820a8-bba6-4718-9f24-0a3181de1f33" providerId="ADAL" clId="{784677A6-F4E8-4D25-BDDA-6842A6AFBAAB}" dt="2021-02-25T09:51:38.620" v="62" actId="2696"/>
        <pc:sldMkLst>
          <pc:docMk/>
          <pc:sldMk cId="3911355464" sldId="798"/>
        </pc:sldMkLst>
        <pc:spChg chg="mod">
          <ac:chgData name="Patrick Spielmann (CH)" userId="0a0820a8-bba6-4718-9f24-0a3181de1f33" providerId="ADAL" clId="{784677A6-F4E8-4D25-BDDA-6842A6AFBAAB}" dt="2021-02-23T15:35:19.329" v="30" actId="20577"/>
          <ac:spMkLst>
            <pc:docMk/>
            <pc:sldMk cId="3911355464" sldId="798"/>
            <ac:spMk id="2" creationId="{18B3E351-56AC-4AC6-B8E2-7578E402F8EA}"/>
          </ac:spMkLst>
        </pc:spChg>
        <pc:spChg chg="add del mod">
          <ac:chgData name="Patrick Spielmann (CH)" userId="0a0820a8-bba6-4718-9f24-0a3181de1f33" providerId="ADAL" clId="{784677A6-F4E8-4D25-BDDA-6842A6AFBAAB}" dt="2021-02-23T15:35:28.336" v="35"/>
          <ac:spMkLst>
            <pc:docMk/>
            <pc:sldMk cId="3911355464" sldId="798"/>
            <ac:spMk id="3" creationId="{FEC143B4-8C8E-4C52-A9E4-F491426790FE}"/>
          </ac:spMkLst>
        </pc:spChg>
        <pc:spChg chg="add del mod">
          <ac:chgData name="Patrick Spielmann (CH)" userId="0a0820a8-bba6-4718-9f24-0a3181de1f33" providerId="ADAL" clId="{784677A6-F4E8-4D25-BDDA-6842A6AFBAAB}" dt="2021-02-23T15:35:28.859" v="49"/>
          <ac:spMkLst>
            <pc:docMk/>
            <pc:sldMk cId="3911355464" sldId="798"/>
            <ac:spMk id="4" creationId="{D5381E80-B7BD-47CC-817A-C93394ACC60B}"/>
          </ac:spMkLst>
        </pc:spChg>
        <pc:spChg chg="add mod">
          <ac:chgData name="Patrick Spielmann (CH)" userId="0a0820a8-bba6-4718-9f24-0a3181de1f33" providerId="ADAL" clId="{784677A6-F4E8-4D25-BDDA-6842A6AFBAAB}" dt="2021-02-23T15:35:56.625" v="58" actId="14100"/>
          <ac:spMkLst>
            <pc:docMk/>
            <pc:sldMk cId="3911355464" sldId="798"/>
            <ac:spMk id="5" creationId="{D31FA884-069F-4D16-A16A-29E8774E1AC3}"/>
          </ac:spMkLst>
        </pc:spChg>
        <pc:spChg chg="add del mod">
          <ac:chgData name="Patrick Spielmann (CH)" userId="0a0820a8-bba6-4718-9f24-0a3181de1f33" providerId="ADAL" clId="{784677A6-F4E8-4D25-BDDA-6842A6AFBAAB}" dt="2021-02-23T15:35:28.877" v="54"/>
          <ac:spMkLst>
            <pc:docMk/>
            <pc:sldMk cId="3911355464" sldId="798"/>
            <ac:spMk id="6" creationId="{CDD40773-EB1D-4F14-9DB3-ED00B61D19D3}"/>
          </ac:spMkLst>
        </pc:spChg>
      </pc:sldChg>
      <pc:sldChg chg="add del">
        <pc:chgData name="Patrick Spielmann (CH)" userId="0a0820a8-bba6-4718-9f24-0a3181de1f33" providerId="ADAL" clId="{784677A6-F4E8-4D25-BDDA-6842A6AFBAAB}" dt="2021-03-11T15:07:22.538" v="133" actId="2696"/>
        <pc:sldMkLst>
          <pc:docMk/>
          <pc:sldMk cId="210898552" sldId="799"/>
        </pc:sldMkLst>
      </pc:sldChg>
      <pc:sldChg chg="add del">
        <pc:chgData name="Patrick Spielmann (CH)" userId="0a0820a8-bba6-4718-9f24-0a3181de1f33" providerId="ADAL" clId="{784677A6-F4E8-4D25-BDDA-6842A6AFBAAB}" dt="2021-03-11T15:07:50.369" v="142" actId="2696"/>
        <pc:sldMkLst>
          <pc:docMk/>
          <pc:sldMk cId="1824536039" sldId="800"/>
        </pc:sldMkLst>
      </pc:sldChg>
      <pc:sldMasterChg chg="del delSldLayout">
        <pc:chgData name="Patrick Spielmann (CH)" userId="0a0820a8-bba6-4718-9f24-0a3181de1f33" providerId="ADAL" clId="{784677A6-F4E8-4D25-BDDA-6842A6AFBAAB}" dt="2021-03-11T15:11:28.208" v="168" actId="2696"/>
        <pc:sldMasterMkLst>
          <pc:docMk/>
          <pc:sldMasterMk cId="2460954070" sldId="2147483660"/>
        </pc:sldMasterMkLst>
        <pc:sldLayoutChg chg="del">
          <pc:chgData name="Patrick Spielmann (CH)" userId="0a0820a8-bba6-4718-9f24-0a3181de1f33" providerId="ADAL" clId="{784677A6-F4E8-4D25-BDDA-6842A6AFBAAB}" dt="2021-03-11T15:11:28.185" v="157" actId="2696"/>
          <pc:sldLayoutMkLst>
            <pc:docMk/>
            <pc:sldMasterMk cId="2460954070" sldId="2147483660"/>
            <pc:sldLayoutMk cId="2385387890" sldId="2147483661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86" v="158" actId="2696"/>
          <pc:sldLayoutMkLst>
            <pc:docMk/>
            <pc:sldMasterMk cId="2460954070" sldId="2147483660"/>
            <pc:sldLayoutMk cId="949138452" sldId="2147483662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88" v="159" actId="2696"/>
          <pc:sldLayoutMkLst>
            <pc:docMk/>
            <pc:sldMasterMk cId="2460954070" sldId="2147483660"/>
            <pc:sldLayoutMk cId="2591524520" sldId="2147483663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90" v="160" actId="2696"/>
          <pc:sldLayoutMkLst>
            <pc:docMk/>
            <pc:sldMasterMk cId="2460954070" sldId="2147483660"/>
            <pc:sldLayoutMk cId="1203092039" sldId="2147483664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91" v="161" actId="2696"/>
          <pc:sldLayoutMkLst>
            <pc:docMk/>
            <pc:sldMasterMk cId="2460954070" sldId="2147483660"/>
            <pc:sldLayoutMk cId="3733172339" sldId="2147483665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93" v="162" actId="2696"/>
          <pc:sldLayoutMkLst>
            <pc:docMk/>
            <pc:sldMasterMk cId="2460954070" sldId="2147483660"/>
            <pc:sldLayoutMk cId="3210312558" sldId="2147483666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96" v="163" actId="2696"/>
          <pc:sldLayoutMkLst>
            <pc:docMk/>
            <pc:sldMasterMk cId="2460954070" sldId="2147483660"/>
            <pc:sldLayoutMk cId="3146388984" sldId="2147483667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198" v="164" actId="2696"/>
          <pc:sldLayoutMkLst>
            <pc:docMk/>
            <pc:sldMasterMk cId="2460954070" sldId="2147483660"/>
            <pc:sldLayoutMk cId="3171841454" sldId="2147483668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202" v="165" actId="2696"/>
          <pc:sldLayoutMkLst>
            <pc:docMk/>
            <pc:sldMasterMk cId="2460954070" sldId="2147483660"/>
            <pc:sldLayoutMk cId="1718958274" sldId="2147483669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203" v="166" actId="2696"/>
          <pc:sldLayoutMkLst>
            <pc:docMk/>
            <pc:sldMasterMk cId="2460954070" sldId="2147483660"/>
            <pc:sldLayoutMk cId="2202905451" sldId="2147483670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28.205" v="167" actId="2696"/>
          <pc:sldLayoutMkLst>
            <pc:docMk/>
            <pc:sldMasterMk cId="2460954070" sldId="2147483660"/>
            <pc:sldLayoutMk cId="3479445657" sldId="2147483671"/>
          </pc:sldLayoutMkLst>
        </pc:sldLayoutChg>
      </pc:sldMasterChg>
      <pc:sldMasterChg chg="delSldLayout modSldLayout">
        <pc:chgData name="Patrick Spielmann (CH)" userId="0a0820a8-bba6-4718-9f24-0a3181de1f33" providerId="ADAL" clId="{784677A6-F4E8-4D25-BDDA-6842A6AFBAAB}" dt="2021-03-11T15:11:53.677" v="196" actId="478"/>
        <pc:sldMasterMkLst>
          <pc:docMk/>
          <pc:sldMasterMk cId="974757345" sldId="2147483672"/>
        </pc:sldMasterMkLst>
        <pc:sldLayoutChg chg="del">
          <pc:chgData name="Patrick Spielmann (CH)" userId="0a0820a8-bba6-4718-9f24-0a3181de1f33" providerId="ADAL" clId="{784677A6-F4E8-4D25-BDDA-6842A6AFBAAB}" dt="2021-03-11T15:11:29.674" v="169" actId="2696"/>
          <pc:sldLayoutMkLst>
            <pc:docMk/>
            <pc:sldMasterMk cId="974757345" sldId="2147483672"/>
            <pc:sldLayoutMk cId="1971590893" sldId="2147483673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0.059" v="170" actId="2696"/>
          <pc:sldLayoutMkLst>
            <pc:docMk/>
            <pc:sldMasterMk cId="974757345" sldId="2147483672"/>
            <pc:sldLayoutMk cId="3192415611" sldId="2147483674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0.221" v="171" actId="2696"/>
          <pc:sldLayoutMkLst>
            <pc:docMk/>
            <pc:sldMasterMk cId="974757345" sldId="2147483672"/>
            <pc:sldLayoutMk cId="1082628433" sldId="2147483675"/>
          </pc:sldLayoutMkLst>
        </pc:sldLayoutChg>
        <pc:sldLayoutChg chg="delSp">
          <pc:chgData name="Patrick Spielmann (CH)" userId="0a0820a8-bba6-4718-9f24-0a3181de1f33" providerId="ADAL" clId="{784677A6-F4E8-4D25-BDDA-6842A6AFBAAB}" dt="2021-03-11T15:11:53.677" v="196" actId="478"/>
          <pc:sldLayoutMkLst>
            <pc:docMk/>
            <pc:sldMasterMk cId="974757345" sldId="2147483672"/>
            <pc:sldLayoutMk cId="2056978183" sldId="2147483676"/>
          </pc:sldLayoutMkLst>
          <pc:spChg chg="del">
            <ac:chgData name="Patrick Spielmann (CH)" userId="0a0820a8-bba6-4718-9f24-0a3181de1f33" providerId="ADAL" clId="{784677A6-F4E8-4D25-BDDA-6842A6AFBAAB}" dt="2021-03-11T15:10:48.461" v="155" actId="478"/>
            <ac:spMkLst>
              <pc:docMk/>
              <pc:sldMasterMk cId="974757345" sldId="2147483672"/>
              <pc:sldLayoutMk cId="2056978183" sldId="2147483676"/>
              <ac:spMk id="29" creationId="{64581E60-A0D4-4BC1-823A-2B418E8F2128}"/>
            </ac:spMkLst>
          </pc:spChg>
          <pc:spChg chg="del">
            <ac:chgData name="Patrick Spielmann (CH)" userId="0a0820a8-bba6-4718-9f24-0a3181de1f33" providerId="ADAL" clId="{784677A6-F4E8-4D25-BDDA-6842A6AFBAAB}" dt="2021-03-11T15:10:46.055" v="154" actId="478"/>
            <ac:spMkLst>
              <pc:docMk/>
              <pc:sldMasterMk cId="974757345" sldId="2147483672"/>
              <pc:sldLayoutMk cId="2056978183" sldId="2147483676"/>
              <ac:spMk id="33" creationId="{687D8D29-B820-4A31-8280-EFE6F9FA98FD}"/>
            </ac:spMkLst>
          </pc:spChg>
          <pc:cxnChg chg="del">
            <ac:chgData name="Patrick Spielmann (CH)" userId="0a0820a8-bba6-4718-9f24-0a3181de1f33" providerId="ADAL" clId="{784677A6-F4E8-4D25-BDDA-6842A6AFBAAB}" dt="2021-03-11T15:11:53.677" v="196" actId="478"/>
            <ac:cxnSpMkLst>
              <pc:docMk/>
              <pc:sldMasterMk cId="974757345" sldId="2147483672"/>
              <pc:sldLayoutMk cId="2056978183" sldId="2147483676"/>
              <ac:cxnSpMk id="35" creationId="{AB44D133-2D16-42A3-A3AD-A385F9C01A0E}"/>
            </ac:cxnSpMkLst>
          </pc:cxnChg>
        </pc:sldLayoutChg>
        <pc:sldLayoutChg chg="del">
          <pc:chgData name="Patrick Spielmann (CH)" userId="0a0820a8-bba6-4718-9f24-0a3181de1f33" providerId="ADAL" clId="{784677A6-F4E8-4D25-BDDA-6842A6AFBAAB}" dt="2021-03-11T15:11:31.314" v="172" actId="2696"/>
          <pc:sldLayoutMkLst>
            <pc:docMk/>
            <pc:sldMasterMk cId="974757345" sldId="2147483672"/>
            <pc:sldLayoutMk cId="2578364942" sldId="2147483677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1.464" v="173" actId="2696"/>
          <pc:sldLayoutMkLst>
            <pc:docMk/>
            <pc:sldMasterMk cId="974757345" sldId="2147483672"/>
            <pc:sldLayoutMk cId="274428875" sldId="2147483678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1.602" v="174" actId="2696"/>
          <pc:sldLayoutMkLst>
            <pc:docMk/>
            <pc:sldMasterMk cId="974757345" sldId="2147483672"/>
            <pc:sldLayoutMk cId="422453288" sldId="2147483679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1.749" v="175" actId="2696"/>
          <pc:sldLayoutMkLst>
            <pc:docMk/>
            <pc:sldMasterMk cId="974757345" sldId="2147483672"/>
            <pc:sldLayoutMk cId="570714316" sldId="2147483680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1.899" v="176" actId="2696"/>
          <pc:sldLayoutMkLst>
            <pc:docMk/>
            <pc:sldMasterMk cId="974757345" sldId="2147483672"/>
            <pc:sldLayoutMk cId="3951292824" sldId="2147483681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050" v="177" actId="2696"/>
          <pc:sldLayoutMkLst>
            <pc:docMk/>
            <pc:sldMasterMk cId="974757345" sldId="2147483672"/>
            <pc:sldLayoutMk cId="1429077809" sldId="2147483682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181" v="178" actId="2696"/>
          <pc:sldLayoutMkLst>
            <pc:docMk/>
            <pc:sldMasterMk cId="974757345" sldId="2147483672"/>
            <pc:sldLayoutMk cId="1713175015" sldId="2147483683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328" v="179" actId="2696"/>
          <pc:sldLayoutMkLst>
            <pc:docMk/>
            <pc:sldMasterMk cId="974757345" sldId="2147483672"/>
            <pc:sldLayoutMk cId="3425929398" sldId="2147483684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470" v="180" actId="2696"/>
          <pc:sldLayoutMkLst>
            <pc:docMk/>
            <pc:sldMasterMk cId="974757345" sldId="2147483672"/>
            <pc:sldLayoutMk cId="1678098877" sldId="2147483685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634" v="181" actId="2696"/>
          <pc:sldLayoutMkLst>
            <pc:docMk/>
            <pc:sldMasterMk cId="974757345" sldId="2147483672"/>
            <pc:sldLayoutMk cId="3698012273" sldId="2147483686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789" v="182" actId="2696"/>
          <pc:sldLayoutMkLst>
            <pc:docMk/>
            <pc:sldMasterMk cId="974757345" sldId="2147483672"/>
            <pc:sldLayoutMk cId="2985715687" sldId="2147483687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2.939" v="183" actId="2696"/>
          <pc:sldLayoutMkLst>
            <pc:docMk/>
            <pc:sldMasterMk cId="974757345" sldId="2147483672"/>
            <pc:sldLayoutMk cId="8119776" sldId="2147483688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3.089" v="184" actId="2696"/>
          <pc:sldLayoutMkLst>
            <pc:docMk/>
            <pc:sldMasterMk cId="974757345" sldId="2147483672"/>
            <pc:sldLayoutMk cId="1552563198" sldId="2147483689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3.247" v="185" actId="2696"/>
          <pc:sldLayoutMkLst>
            <pc:docMk/>
            <pc:sldMasterMk cId="974757345" sldId="2147483672"/>
            <pc:sldLayoutMk cId="3918615466" sldId="2147483690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3.421" v="186" actId="2696"/>
          <pc:sldLayoutMkLst>
            <pc:docMk/>
            <pc:sldMasterMk cId="974757345" sldId="2147483672"/>
            <pc:sldLayoutMk cId="1999957009" sldId="2147483691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3.564" v="187" actId="2696"/>
          <pc:sldLayoutMkLst>
            <pc:docMk/>
            <pc:sldMasterMk cId="974757345" sldId="2147483672"/>
            <pc:sldLayoutMk cId="3661524748" sldId="2147483692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3.925" v="188" actId="2696"/>
          <pc:sldLayoutMkLst>
            <pc:docMk/>
            <pc:sldMasterMk cId="974757345" sldId="2147483672"/>
            <pc:sldLayoutMk cId="1948428200" sldId="2147483693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062" v="189" actId="2696"/>
          <pc:sldLayoutMkLst>
            <pc:docMk/>
            <pc:sldMasterMk cId="974757345" sldId="2147483672"/>
            <pc:sldLayoutMk cId="1806181453" sldId="2147483694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216" v="190" actId="2696"/>
          <pc:sldLayoutMkLst>
            <pc:docMk/>
            <pc:sldMasterMk cId="974757345" sldId="2147483672"/>
            <pc:sldLayoutMk cId="3670312932" sldId="2147483695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369" v="191" actId="2696"/>
          <pc:sldLayoutMkLst>
            <pc:docMk/>
            <pc:sldMasterMk cId="974757345" sldId="2147483672"/>
            <pc:sldLayoutMk cId="3549024681" sldId="2147483696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533" v="192" actId="2696"/>
          <pc:sldLayoutMkLst>
            <pc:docMk/>
            <pc:sldMasterMk cId="974757345" sldId="2147483672"/>
            <pc:sldLayoutMk cId="2643685280" sldId="2147483697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688" v="193" actId="2696"/>
          <pc:sldLayoutMkLst>
            <pc:docMk/>
            <pc:sldMasterMk cId="974757345" sldId="2147483672"/>
            <pc:sldLayoutMk cId="4192696277" sldId="2147483698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4.859" v="194" actId="2696"/>
          <pc:sldLayoutMkLst>
            <pc:docMk/>
            <pc:sldMasterMk cId="974757345" sldId="2147483672"/>
            <pc:sldLayoutMk cId="3103664629" sldId="2147483699"/>
          </pc:sldLayoutMkLst>
        </pc:sldLayoutChg>
        <pc:sldLayoutChg chg="del">
          <pc:chgData name="Patrick Spielmann (CH)" userId="0a0820a8-bba6-4718-9f24-0a3181de1f33" providerId="ADAL" clId="{784677A6-F4E8-4D25-BDDA-6842A6AFBAAB}" dt="2021-03-11T15:11:35.019" v="195" actId="2696"/>
          <pc:sldLayoutMkLst>
            <pc:docMk/>
            <pc:sldMasterMk cId="974757345" sldId="2147483672"/>
            <pc:sldLayoutMk cId="1575515146" sldId="2147483700"/>
          </pc:sldLayoutMkLst>
        </pc:sldLayoutChg>
      </pc:sldMasterChg>
    </pc:docChg>
  </pc:docChgLst>
  <pc:docChgLst>
    <pc:chgData name="Christa Elsaesser (CH)" userId="1fdbecc6-09cc-44b1-ba9a-4bd73e974f19" providerId="ADAL" clId="{11B8E99B-8FD7-451A-AD60-235EBE5C2BEA}"/>
    <pc:docChg chg="modSld">
      <pc:chgData name="Christa Elsaesser (CH)" userId="1fdbecc6-09cc-44b1-ba9a-4bd73e974f19" providerId="ADAL" clId="{11B8E99B-8FD7-451A-AD60-235EBE5C2BEA}" dt="2021-03-09T08:52:20.358" v="1" actId="20577"/>
      <pc:docMkLst>
        <pc:docMk/>
      </pc:docMkLst>
      <pc:sldChg chg="modSp">
        <pc:chgData name="Christa Elsaesser (CH)" userId="1fdbecc6-09cc-44b1-ba9a-4bd73e974f19" providerId="ADAL" clId="{11B8E99B-8FD7-451A-AD60-235EBE5C2BEA}" dt="2021-03-09T08:52:20.358" v="1" actId="20577"/>
        <pc:sldMkLst>
          <pc:docMk/>
          <pc:sldMk cId="1824536039" sldId="800"/>
        </pc:sldMkLst>
        <pc:spChg chg="mod">
          <ac:chgData name="Christa Elsaesser (CH)" userId="1fdbecc6-09cc-44b1-ba9a-4bd73e974f19" providerId="ADAL" clId="{11B8E99B-8FD7-451A-AD60-235EBE5C2BEA}" dt="2021-03-09T08:52:18.349" v="0" actId="20577"/>
          <ac:spMkLst>
            <pc:docMk/>
            <pc:sldMk cId="1824536039" sldId="800"/>
            <ac:spMk id="34" creationId="{99D29E60-4131-4CE7-8F72-4A938AFD2DCC}"/>
          </ac:spMkLst>
        </pc:spChg>
        <pc:spChg chg="mod">
          <ac:chgData name="Christa Elsaesser (CH)" userId="1fdbecc6-09cc-44b1-ba9a-4bd73e974f19" providerId="ADAL" clId="{11B8E99B-8FD7-451A-AD60-235EBE5C2BEA}" dt="2021-03-09T08:52:20.358" v="1" actId="20577"/>
          <ac:spMkLst>
            <pc:docMk/>
            <pc:sldMk cId="1824536039" sldId="800"/>
            <ac:spMk id="35" creationId="{F754FB60-0C1B-495F-9611-B4ED06B46C4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599FEA-5FA5-48AB-A0B7-75A7665FB539}" type="datetimeFigureOut">
              <a:rPr lang="en-GB" smtClean="0"/>
              <a:t>19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1245CD-78EE-49CB-B269-1AF89E63C0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905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60375" y="850900"/>
            <a:ext cx="5546956" cy="835361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300" b="0" i="0" kern="1200" baseline="0" noProof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heading (Arial 13) – Inserted text here should be Arial 11</a:t>
            </a:r>
            <a:endParaRPr lang="en-GB"/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19.02.2021 Presentation1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Draft stamp" hidden="1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04757" y="6468666"/>
            <a:ext cx="258248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343697" y="6467895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>
              <a:lnSpc>
                <a:spcPts val="882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 hidden="1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60375" y="6317429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10477" y="6468666"/>
            <a:ext cx="330273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1F5119-3B9D-4645-8BA3-8709EAA6A4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4514" y="849611"/>
            <a:ext cx="5546956" cy="835361"/>
          </a:xfrm>
        </p:spPr>
        <p:txBody>
          <a:bodyPr/>
          <a:lstStyle>
            <a:lvl1pPr>
              <a:defRPr sz="1300">
                <a:latin typeface="+mn-lt"/>
              </a:defRPr>
            </a:lvl1pPr>
            <a:lvl2pPr>
              <a:defRPr sz="1147"/>
            </a:lvl2pPr>
            <a:lvl3pPr>
              <a:defRPr sz="1147"/>
            </a:lvl3pPr>
            <a:lvl4pPr>
              <a:defRPr sz="1147"/>
            </a:lvl4pPr>
            <a:lvl5pPr>
              <a:defRPr sz="1147"/>
            </a:lvl5pPr>
          </a:lstStyle>
          <a:p>
            <a:pPr lvl="0"/>
            <a:r>
              <a:rPr lang="en-GB"/>
              <a:t>PwC view </a:t>
            </a:r>
            <a:r>
              <a:rPr lang="en-GB" noProof="0"/>
              <a:t>(Arial 13) – Inserted text here should be Arial 11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4B93CB7-1869-43DA-BD16-D141D7FE3D4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60375" y="1812925"/>
            <a:ext cx="11271250" cy="430128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HeaderTOCPlaceholder">
            <a:extLst>
              <a:ext uri="{FF2B5EF4-FFF2-40B4-BE49-F238E27FC236}">
                <a16:creationId xmlns:a16="http://schemas.microsoft.com/office/drawing/2014/main" id="{16292C50-DC20-44F3-BF7F-BF53220E5E7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532335" y="534114"/>
            <a:ext cx="7199290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12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Section Header">
            <a:extLst>
              <a:ext uri="{FF2B5EF4-FFF2-40B4-BE49-F238E27FC236}">
                <a16:creationId xmlns:a16="http://schemas.microsoft.com/office/drawing/2014/main" id="{2A00B7A9-6B84-4D4C-9CBA-D8689222CE8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60409" y="536379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978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1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3FF33B-9909-46C2-AB3A-23761CF799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8175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3FF33B-9909-46C2-AB3A-23761CF799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9A79DA5-09D5-4997-9663-CF42FF3EC9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6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0374" y="855345"/>
            <a:ext cx="11269339" cy="8252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0374" y="1815353"/>
            <a:ext cx="11269339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01408" y="6252882"/>
            <a:ext cx="2028305" cy="137160"/>
          </a:xfrm>
          <a:prstGeom prst="rect">
            <a:avLst/>
          </a:prstGeom>
        </p:spPr>
        <p:txBody>
          <a:bodyPr vert="horz" lIns="0" tIns="50941" rIns="0" bIns="50941" rtlCol="0" anchor="ctr"/>
          <a:lstStyle>
            <a:lvl1pPr algn="r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pril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0374" y="6252882"/>
            <a:ext cx="7004858" cy="137160"/>
          </a:xfrm>
          <a:prstGeom prst="rect">
            <a:avLst/>
          </a:prstGeom>
        </p:spPr>
        <p:txBody>
          <a:bodyPr vert="horz" lIns="0" tIns="50941" rIns="0" bIns="50941" rtlCol="0" anchor="ctr"/>
          <a:lstStyle>
            <a:lvl1pPr algn="l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PwC | FlyByU Grou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01408" y="6390042"/>
            <a:ext cx="2028305" cy="137160"/>
          </a:xfrm>
          <a:prstGeom prst="rect">
            <a:avLst/>
          </a:prstGeom>
        </p:spPr>
        <p:txBody>
          <a:bodyPr vert="horz" lIns="0" tIns="50941" rIns="0" bIns="50941" rtlCol="0" anchor="ctr"/>
          <a:lstStyle>
            <a:lvl1pPr algn="r"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757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800" b="0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11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11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11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1100" b="1" kern="1200" baseline="0" noProof="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0">
          <p15:clr>
            <a:srgbClr val="A4A3A4"/>
          </p15:clr>
        </p15:guide>
        <p15:guide id="2" pos="1394">
          <p15:clr>
            <a:srgbClr val="A4A3A4"/>
          </p15:clr>
        </p15:guide>
        <p15:guide id="3" pos="1486">
          <p15:clr>
            <a:srgbClr val="A4A3A4"/>
          </p15:clr>
        </p15:guide>
        <p15:guide id="4" pos="2591">
          <p15:clr>
            <a:srgbClr val="A4A3A4"/>
          </p15:clr>
        </p15:guide>
        <p15:guide id="5" pos="2684">
          <p15:clr>
            <a:srgbClr val="A4A3A4"/>
          </p15:clr>
        </p15:guide>
        <p15:guide id="6" pos="3791">
          <p15:clr>
            <a:srgbClr val="A4A3A4"/>
          </p15:clr>
        </p15:guide>
        <p15:guide id="7" pos="3886">
          <p15:clr>
            <a:srgbClr val="A4A3A4"/>
          </p15:clr>
        </p15:guide>
        <p15:guide id="8" pos="4991">
          <p15:clr>
            <a:srgbClr val="A4A3A4"/>
          </p15:clr>
        </p15:guide>
        <p15:guide id="9" pos="5084">
          <p15:clr>
            <a:srgbClr val="A4A3A4"/>
          </p15:clr>
        </p15:guide>
        <p15:guide id="10" pos="6187">
          <p15:clr>
            <a:srgbClr val="A4A3A4"/>
          </p15:clr>
        </p15:guide>
        <p15:guide id="11" pos="6281">
          <p15:clr>
            <a:srgbClr val="A4A3A4"/>
          </p15:clr>
        </p15:guide>
        <p15:guide id="12" pos="7390">
          <p15:clr>
            <a:srgbClr val="A4A3A4"/>
          </p15:clr>
        </p15:guide>
        <p15:guide id="16" orient="horz" pos="1058">
          <p15:clr>
            <a:srgbClr val="F26B43"/>
          </p15:clr>
        </p15:guide>
        <p15:guide id="17" orient="horz" pos="1142">
          <p15:clr>
            <a:srgbClr val="A4A3A4"/>
          </p15:clr>
        </p15:guide>
        <p15:guide id="18" orient="horz" pos="1524">
          <p15:clr>
            <a:srgbClr val="A4A3A4"/>
          </p15:clr>
        </p15:guide>
        <p15:guide id="19" orient="horz" pos="1610">
          <p15:clr>
            <a:srgbClr val="A4A3A4"/>
          </p15:clr>
        </p15:guide>
        <p15:guide id="20" orient="horz" pos="1991">
          <p15:clr>
            <a:srgbClr val="A4A3A4"/>
          </p15:clr>
        </p15:guide>
        <p15:guide id="21" orient="horz" pos="2075">
          <p15:clr>
            <a:srgbClr val="A4A3A4"/>
          </p15:clr>
        </p15:guide>
        <p15:guide id="22" orient="horz" pos="2457">
          <p15:clr>
            <a:srgbClr val="A4A3A4"/>
          </p15:clr>
        </p15:guide>
        <p15:guide id="23" orient="horz" pos="2541">
          <p15:clr>
            <a:srgbClr val="A4A3A4"/>
          </p15:clr>
        </p15:guide>
        <p15:guide id="24" orient="horz" pos="2921">
          <p15:clr>
            <a:srgbClr val="A4A3A4"/>
          </p15:clr>
        </p15:guide>
        <p15:guide id="25" orient="horz" pos="3008">
          <p15:clr>
            <a:srgbClr val="A4A3A4"/>
          </p15:clr>
        </p15:guide>
        <p15:guide id="26" orient="horz" pos="3388">
          <p15:clr>
            <a:srgbClr val="A4A3A4"/>
          </p15:clr>
        </p15:guide>
        <p15:guide id="27" orient="horz" pos="3472">
          <p15:clr>
            <a:srgbClr val="A4A3A4"/>
          </p15:clr>
        </p15:guide>
        <p15:guide id="29" orient="horz" pos="3978">
          <p15:clr>
            <a:srgbClr val="5ACBF0"/>
          </p15:clr>
        </p15:guide>
        <p15:guide id="30" orient="horz" pos="4148">
          <p15:clr>
            <a:srgbClr val="5ACBF0"/>
          </p15:clr>
        </p15:guide>
        <p15:guide id="31" orient="horz" pos="536">
          <p15:clr>
            <a:srgbClr val="F26B43"/>
          </p15:clr>
        </p15:guide>
        <p15:guide id="32" orient="horz" pos="450">
          <p15:clr>
            <a:srgbClr val="5ACBF0"/>
          </p15:clr>
        </p15:guide>
        <p15:guide id="33" orient="horz" pos="317">
          <p15:clr>
            <a:srgbClr val="5ACBF0"/>
          </p15:clr>
        </p15:guide>
        <p15:guide id="34" orient="horz" pos="3853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CEE02-B407-4BB1-8A24-999D12800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375" y="850900"/>
            <a:ext cx="6185522" cy="835361"/>
          </a:xfrm>
        </p:spPr>
        <p:txBody>
          <a:bodyPr/>
          <a:lstStyle/>
          <a:p>
            <a:r>
              <a:rPr lang="en-GB" sz="3173" b="1" dirty="0">
                <a:solidFill>
                  <a:schemeClr val="accent1"/>
                </a:solidFill>
                <a:latin typeface="+mj-lt"/>
              </a:rPr>
              <a:t>FlyByU Group Structure</a:t>
            </a:r>
            <a:endParaRPr lang="en-GB" sz="2800" dirty="0">
              <a:highlight>
                <a:srgbClr val="FFFF00"/>
              </a:highlight>
            </a:endParaRPr>
          </a:p>
        </p:txBody>
      </p:sp>
      <p:cxnSp>
        <p:nvCxnSpPr>
          <p:cNvPr id="5" name="AutoShape 24">
            <a:extLst>
              <a:ext uri="{FF2B5EF4-FFF2-40B4-BE49-F238E27FC236}">
                <a16:creationId xmlns:a16="http://schemas.microsoft.com/office/drawing/2014/main" id="{1ADBA7BD-BA17-4CF0-B21B-9393A2B1927E}"/>
              </a:ext>
            </a:extLst>
          </p:cNvPr>
          <p:cNvCxnSpPr>
            <a:cxnSpLocks noChangeShapeType="1"/>
          </p:cNvCxnSpPr>
          <p:nvPr/>
        </p:nvCxnSpPr>
        <p:spPr bwMode="auto">
          <a:xfrm rot="5400000">
            <a:off x="2696244" y="4068869"/>
            <a:ext cx="450850" cy="1262063"/>
          </a:xfrm>
          <a:prstGeom prst="bentConnector3">
            <a:avLst>
              <a:gd name="adj1" fmla="val 5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89" name="AutoShape 117">
            <a:extLst>
              <a:ext uri="{FF2B5EF4-FFF2-40B4-BE49-F238E27FC236}">
                <a16:creationId xmlns:a16="http://schemas.microsoft.com/office/drawing/2014/main" id="{20540971-4041-4298-BAE6-D34A91B1C8DC}"/>
              </a:ext>
            </a:extLst>
          </p:cNvPr>
          <p:cNvCxnSpPr>
            <a:cxnSpLocks noChangeShapeType="1"/>
            <a:stCxn id="76" idx="2"/>
            <a:endCxn id="54" idx="0"/>
          </p:cNvCxnSpPr>
          <p:nvPr/>
        </p:nvCxnSpPr>
        <p:spPr bwMode="auto">
          <a:xfrm rot="5400000">
            <a:off x="2904504" y="3085593"/>
            <a:ext cx="437608" cy="131330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103" name="AutoShape 117">
            <a:extLst>
              <a:ext uri="{FF2B5EF4-FFF2-40B4-BE49-F238E27FC236}">
                <a16:creationId xmlns:a16="http://schemas.microsoft.com/office/drawing/2014/main" id="{801DC340-547A-4248-910B-667651A3FB54}"/>
              </a:ext>
            </a:extLst>
          </p:cNvPr>
          <p:cNvCxnSpPr>
            <a:cxnSpLocks noChangeShapeType="1"/>
            <a:stCxn id="60" idx="2"/>
            <a:endCxn id="66" idx="0"/>
          </p:cNvCxnSpPr>
          <p:nvPr/>
        </p:nvCxnSpPr>
        <p:spPr bwMode="auto">
          <a:xfrm rot="5400000">
            <a:off x="2901329" y="4012375"/>
            <a:ext cx="437607" cy="13069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159" name="AutoShape 117">
            <a:extLst>
              <a:ext uri="{FF2B5EF4-FFF2-40B4-BE49-F238E27FC236}">
                <a16:creationId xmlns:a16="http://schemas.microsoft.com/office/drawing/2014/main" id="{5E23E72C-BDE7-4A8C-93CB-E9F9A4409548}"/>
              </a:ext>
            </a:extLst>
          </p:cNvPr>
          <p:cNvCxnSpPr>
            <a:cxnSpLocks noChangeShapeType="1"/>
            <a:stCxn id="60" idx="2"/>
            <a:endCxn id="63" idx="0"/>
          </p:cNvCxnSpPr>
          <p:nvPr/>
        </p:nvCxnSpPr>
        <p:spPr bwMode="auto">
          <a:xfrm rot="16200000" flipH="1">
            <a:off x="4205104" y="4015549"/>
            <a:ext cx="437607" cy="130060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49" name="AutoShape 117">
            <a:extLst>
              <a:ext uri="{FF2B5EF4-FFF2-40B4-BE49-F238E27FC236}">
                <a16:creationId xmlns:a16="http://schemas.microsoft.com/office/drawing/2014/main" id="{98F76BF5-1F0F-4C3C-94D8-9F14D73A850B}"/>
              </a:ext>
            </a:extLst>
          </p:cNvPr>
          <p:cNvCxnSpPr>
            <a:cxnSpLocks noChangeShapeType="1"/>
            <a:stCxn id="76" idx="2"/>
            <a:endCxn id="50" idx="0"/>
          </p:cNvCxnSpPr>
          <p:nvPr/>
        </p:nvCxnSpPr>
        <p:spPr bwMode="auto">
          <a:xfrm rot="5400000">
            <a:off x="2227486" y="2408575"/>
            <a:ext cx="437608" cy="26673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65" name="AutoShape 117">
            <a:extLst>
              <a:ext uri="{FF2B5EF4-FFF2-40B4-BE49-F238E27FC236}">
                <a16:creationId xmlns:a16="http://schemas.microsoft.com/office/drawing/2014/main" id="{696A5A42-BECD-4E15-894B-651950990357}"/>
              </a:ext>
            </a:extLst>
          </p:cNvPr>
          <p:cNvCxnSpPr>
            <a:cxnSpLocks noChangeShapeType="1"/>
            <a:stCxn id="34" idx="2"/>
            <a:endCxn id="35" idx="0"/>
          </p:cNvCxnSpPr>
          <p:nvPr/>
        </p:nvCxnSpPr>
        <p:spPr bwMode="auto">
          <a:xfrm rot="16200000" flipH="1">
            <a:off x="5517875" y="2166394"/>
            <a:ext cx="437608" cy="130448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AutoShape 117">
            <a:extLst>
              <a:ext uri="{FF2B5EF4-FFF2-40B4-BE49-F238E27FC236}">
                <a16:creationId xmlns:a16="http://schemas.microsoft.com/office/drawing/2014/main" id="{21F897AC-57C1-4FB8-80BC-A896B6C3CCB9}"/>
              </a:ext>
            </a:extLst>
          </p:cNvPr>
          <p:cNvCxnSpPr>
            <a:cxnSpLocks noChangeShapeType="1"/>
            <a:stCxn id="34" idx="2"/>
            <a:endCxn id="39" idx="0"/>
          </p:cNvCxnSpPr>
          <p:nvPr/>
        </p:nvCxnSpPr>
        <p:spPr bwMode="auto">
          <a:xfrm rot="16200000" flipH="1">
            <a:off x="6822355" y="861914"/>
            <a:ext cx="437608" cy="391344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9D29E60-4131-4CE7-8F72-4A938AFD2DCC}"/>
              </a:ext>
            </a:extLst>
          </p:cNvPr>
          <p:cNvSpPr/>
          <p:nvPr/>
        </p:nvSpPr>
        <p:spPr>
          <a:xfrm>
            <a:off x="4508439" y="2113831"/>
            <a:ext cx="1152000" cy="486000"/>
          </a:xfrm>
          <a:prstGeom prst="rect">
            <a:avLst/>
          </a:prstGeom>
          <a:solidFill>
            <a:srgbClr val="DB536A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 dirty="0" err="1">
                <a:solidFill>
                  <a:srgbClr val="FFFFFF"/>
                </a:solidFill>
              </a:rPr>
              <a:t>FlyByU</a:t>
            </a:r>
            <a:r>
              <a:rPr lang="en-GB" sz="800" b="1" kern="0" dirty="0">
                <a:solidFill>
                  <a:srgbClr val="FFFFFF"/>
                </a:solidFill>
              </a:rPr>
              <a:t> Holding AG</a:t>
            </a:r>
            <a:br>
              <a:rPr lang="en-GB" sz="800" b="1" kern="0" dirty="0">
                <a:solidFill>
                  <a:srgbClr val="FFFFFF"/>
                </a:solidFill>
              </a:rPr>
            </a:br>
            <a:r>
              <a:rPr lang="en-GB" sz="800" b="1" kern="0" dirty="0">
                <a:solidFill>
                  <a:srgbClr val="FFFFFF"/>
                </a:solidFill>
              </a:rPr>
              <a:t>(Switzerland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754FB60-0C1B-495F-9611-B4ED06B46C48}"/>
              </a:ext>
            </a:extLst>
          </p:cNvPr>
          <p:cNvSpPr/>
          <p:nvPr/>
        </p:nvSpPr>
        <p:spPr>
          <a:xfrm>
            <a:off x="5812920" y="3037439"/>
            <a:ext cx="1152000" cy="486000"/>
          </a:xfrm>
          <a:prstGeom prst="rect">
            <a:avLst/>
          </a:prstGeom>
          <a:solidFill>
            <a:srgbClr val="DB536A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 </a:t>
            </a:r>
            <a:r>
              <a:rPr lang="en-GB" sz="800" b="1" kern="0" err="1">
                <a:solidFill>
                  <a:srgbClr val="FFFFFF"/>
                </a:solidFill>
              </a:rPr>
              <a:t>ByU</a:t>
            </a:r>
            <a:r>
              <a:rPr lang="en-GB" sz="800" b="1" kern="0">
                <a:solidFill>
                  <a:srgbClr val="FFFFFF"/>
                </a:solidFill>
              </a:rPr>
              <a:t> AG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Switzerland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1B3AB8A-1322-41EF-A7E8-1AE58AD28BC6}"/>
              </a:ext>
            </a:extLst>
          </p:cNvPr>
          <p:cNvSpPr/>
          <p:nvPr/>
        </p:nvSpPr>
        <p:spPr>
          <a:xfrm>
            <a:off x="7117400" y="3037439"/>
            <a:ext cx="1152000" cy="486000"/>
          </a:xfrm>
          <a:prstGeom prst="rect">
            <a:avLst/>
          </a:prstGeom>
          <a:solidFill>
            <a:srgbClr val="DB536A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ByU 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2Slow AG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Switzerland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8B4A1BB-7DB0-4715-97B3-0A76B1813AE0}"/>
              </a:ext>
            </a:extLst>
          </p:cNvPr>
          <p:cNvSpPr/>
          <p:nvPr/>
        </p:nvSpPr>
        <p:spPr>
          <a:xfrm>
            <a:off x="8421880" y="3037439"/>
            <a:ext cx="1152000" cy="486000"/>
          </a:xfrm>
          <a:prstGeom prst="rect">
            <a:avLst/>
          </a:prstGeom>
          <a:solidFill>
            <a:srgbClr val="DB536A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ByU IP AG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Switzerland)</a:t>
            </a:r>
          </a:p>
        </p:txBody>
      </p:sp>
      <p:cxnSp>
        <p:nvCxnSpPr>
          <p:cNvPr id="46" name="AutoShape 117">
            <a:extLst>
              <a:ext uri="{FF2B5EF4-FFF2-40B4-BE49-F238E27FC236}">
                <a16:creationId xmlns:a16="http://schemas.microsoft.com/office/drawing/2014/main" id="{BFA2FA2D-04BB-41F2-8A90-4A41C15003FD}"/>
              </a:ext>
            </a:extLst>
          </p:cNvPr>
          <p:cNvCxnSpPr>
            <a:cxnSpLocks noChangeShapeType="1"/>
            <a:stCxn id="34" idx="2"/>
            <a:endCxn id="38" idx="0"/>
          </p:cNvCxnSpPr>
          <p:nvPr/>
        </p:nvCxnSpPr>
        <p:spPr bwMode="auto">
          <a:xfrm rot="16200000" flipH="1">
            <a:off x="6170115" y="1514154"/>
            <a:ext cx="437608" cy="260896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5A1BF686-907B-4360-AE6B-6DA621568DF7}"/>
              </a:ext>
            </a:extLst>
          </p:cNvPr>
          <p:cNvSpPr/>
          <p:nvPr/>
        </p:nvSpPr>
        <p:spPr>
          <a:xfrm>
            <a:off x="536621" y="3961047"/>
            <a:ext cx="1152000" cy="486000"/>
          </a:xfrm>
          <a:prstGeom prst="rect">
            <a:avLst/>
          </a:prstGeom>
          <a:solidFill>
            <a:srgbClr val="E0301E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ByU 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2Loud Ltd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USA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78AC0B7-5186-4032-BBC2-EF8117847BB0}"/>
              </a:ext>
            </a:extLst>
          </p:cNvPr>
          <p:cNvSpPr/>
          <p:nvPr/>
        </p:nvSpPr>
        <p:spPr>
          <a:xfrm>
            <a:off x="1890657" y="3961047"/>
            <a:ext cx="1152000" cy="486000"/>
          </a:xfrm>
          <a:prstGeom prst="rect">
            <a:avLst/>
          </a:prstGeom>
          <a:solidFill>
            <a:srgbClr val="E0301E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QuickShip Ltd.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USA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FC07738-9B65-4CBA-A395-0DF7DF9538EF}"/>
              </a:ext>
            </a:extLst>
          </p:cNvPr>
          <p:cNvSpPr/>
          <p:nvPr/>
        </p:nvSpPr>
        <p:spPr>
          <a:xfrm>
            <a:off x="4508439" y="3037439"/>
            <a:ext cx="1152000" cy="486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/>
              <a:t>FlyByU Ltd. (UK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A24E9BF-13FF-440A-923C-ACB83A3EAF27}"/>
              </a:ext>
            </a:extLst>
          </p:cNvPr>
          <p:cNvSpPr/>
          <p:nvPr/>
        </p:nvSpPr>
        <p:spPr>
          <a:xfrm>
            <a:off x="4504558" y="3961047"/>
            <a:ext cx="1152000" cy="486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/>
              <a:t>QuickShip Ltd. (UK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99E2449-AB2D-4AF7-8FA8-FDD17E19458D}"/>
              </a:ext>
            </a:extLst>
          </p:cNvPr>
          <p:cNvSpPr/>
          <p:nvPr/>
        </p:nvSpPr>
        <p:spPr>
          <a:xfrm>
            <a:off x="3197607" y="3961047"/>
            <a:ext cx="1152000" cy="486000"/>
          </a:xfrm>
          <a:prstGeom prst="rect">
            <a:avLst/>
          </a:prstGeom>
          <a:solidFill>
            <a:srgbClr val="DC6900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ByU NV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Belgium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C536EFE-A3DC-4E11-8127-C3E6C28F6757}"/>
              </a:ext>
            </a:extLst>
          </p:cNvPr>
          <p:cNvSpPr/>
          <p:nvPr/>
        </p:nvSpPr>
        <p:spPr>
          <a:xfrm>
            <a:off x="4498208" y="4884654"/>
            <a:ext cx="1152000" cy="485313"/>
          </a:xfrm>
          <a:prstGeom prst="rect">
            <a:avLst/>
          </a:prstGeom>
          <a:solidFill>
            <a:srgbClr val="DC6900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 err="1">
                <a:solidFill>
                  <a:srgbClr val="FFFFFF"/>
                </a:solidFill>
              </a:rPr>
              <a:t>ExpéVite</a:t>
            </a:r>
            <a:r>
              <a:rPr lang="en-GB" sz="800" b="1" kern="0">
                <a:solidFill>
                  <a:srgbClr val="FFFFFF"/>
                </a:solidFill>
              </a:rPr>
              <a:t> NV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Belgium)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AD3FF40-466C-41F7-8F06-5EEB88D64C8E}"/>
              </a:ext>
            </a:extLst>
          </p:cNvPr>
          <p:cNvSpPr/>
          <p:nvPr/>
        </p:nvSpPr>
        <p:spPr>
          <a:xfrm>
            <a:off x="1890657" y="4884654"/>
            <a:ext cx="1152000" cy="485313"/>
          </a:xfrm>
          <a:prstGeom prst="rect">
            <a:avLst/>
          </a:prstGeom>
          <a:solidFill>
            <a:srgbClr val="DC6900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defTabSz="914400" fontAlgn="b">
              <a:defRPr/>
            </a:pPr>
            <a:r>
              <a:rPr lang="en-GB" sz="800" b="1" kern="0">
                <a:solidFill>
                  <a:srgbClr val="FFFFFF"/>
                </a:solidFill>
              </a:rPr>
              <a:t>FlyByU 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R&amp;D NV</a:t>
            </a:r>
            <a:br>
              <a:rPr lang="en-GB" sz="800" b="1" kern="0">
                <a:solidFill>
                  <a:srgbClr val="FFFFFF"/>
                </a:solidFill>
              </a:rPr>
            </a:br>
            <a:r>
              <a:rPr lang="en-GB" sz="800" b="1" kern="0">
                <a:solidFill>
                  <a:srgbClr val="FFFFFF"/>
                </a:solidFill>
              </a:rPr>
              <a:t>(Belgium)</a:t>
            </a:r>
          </a:p>
        </p:txBody>
      </p:sp>
      <p:cxnSp>
        <p:nvCxnSpPr>
          <p:cNvPr id="132" name="AutoShape 117">
            <a:extLst>
              <a:ext uri="{FF2B5EF4-FFF2-40B4-BE49-F238E27FC236}">
                <a16:creationId xmlns:a16="http://schemas.microsoft.com/office/drawing/2014/main" id="{0DFAB181-AC61-425E-BFB2-3CD6A98976EA}"/>
              </a:ext>
            </a:extLst>
          </p:cNvPr>
          <p:cNvCxnSpPr>
            <a:cxnSpLocks noChangeShapeType="1"/>
            <a:stCxn id="34" idx="2"/>
            <a:endCxn id="76" idx="0"/>
          </p:cNvCxnSpPr>
          <p:nvPr/>
        </p:nvCxnSpPr>
        <p:spPr bwMode="auto">
          <a:xfrm rot="5400000">
            <a:off x="4213395" y="2166395"/>
            <a:ext cx="437608" cy="130448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BC5ABCB9-50CD-46E8-8001-D02C27B18CB3}"/>
              </a:ext>
            </a:extLst>
          </p:cNvPr>
          <p:cNvSpPr/>
          <p:nvPr/>
        </p:nvSpPr>
        <p:spPr>
          <a:xfrm>
            <a:off x="457769" y="4801661"/>
            <a:ext cx="224351" cy="216000"/>
          </a:xfrm>
          <a:prstGeom prst="rect">
            <a:avLst/>
          </a:prstGeom>
          <a:solidFill>
            <a:srgbClr val="DB536A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737EFDF-6C03-4344-B5DB-34F0BF88DCF4}"/>
              </a:ext>
            </a:extLst>
          </p:cNvPr>
          <p:cNvSpPr/>
          <p:nvPr/>
        </p:nvSpPr>
        <p:spPr>
          <a:xfrm>
            <a:off x="809490" y="4801661"/>
            <a:ext cx="897259" cy="216000"/>
          </a:xfrm>
          <a:prstGeom prst="rect">
            <a:avLst/>
          </a:prstGeom>
          <a:noFill/>
          <a:ln w="12700">
            <a:noFill/>
            <a:prstDash val="sysDash"/>
          </a:ln>
        </p:spPr>
        <p:txBody>
          <a:bodyPr wrap="square" lIns="36000" tIns="18000" rIns="36000" anchor="ctr">
            <a:noAutofit/>
          </a:bodyPr>
          <a:lstStyle/>
          <a:p>
            <a:pPr marL="0" marR="0" lvl="0" indent="0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wiss entity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2E66EDF-6261-4442-8FFC-E1E08A4F3E47}"/>
              </a:ext>
            </a:extLst>
          </p:cNvPr>
          <p:cNvSpPr/>
          <p:nvPr/>
        </p:nvSpPr>
        <p:spPr>
          <a:xfrm>
            <a:off x="457769" y="5100426"/>
            <a:ext cx="224351" cy="216000"/>
          </a:xfrm>
          <a:prstGeom prst="rect">
            <a:avLst/>
          </a:prstGeom>
          <a:solidFill>
            <a:srgbClr val="E0301E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2C0931E-1FBD-44B2-B3D8-B8F1EEF3604C}"/>
              </a:ext>
            </a:extLst>
          </p:cNvPr>
          <p:cNvSpPr/>
          <p:nvPr/>
        </p:nvSpPr>
        <p:spPr>
          <a:xfrm>
            <a:off x="809490" y="5099306"/>
            <a:ext cx="1002358" cy="216000"/>
          </a:xfrm>
          <a:prstGeom prst="rect">
            <a:avLst/>
          </a:prstGeom>
          <a:noFill/>
          <a:ln w="12700">
            <a:noFill/>
            <a:prstDash val="sysDash"/>
          </a:ln>
        </p:spPr>
        <p:txBody>
          <a:bodyPr wrap="square" lIns="36000" tIns="18000" rIns="36000" anchor="ctr">
            <a:noAutofit/>
          </a:bodyPr>
          <a:lstStyle/>
          <a:p>
            <a:pPr marL="0" marR="0" lvl="0" indent="0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/>
              <a:t>US entity</a:t>
            </a:r>
            <a:endParaRPr kumimoji="0" lang="en-GB" sz="800" b="1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5191EB2-66B2-4621-8C3E-D0CE134C0528}"/>
              </a:ext>
            </a:extLst>
          </p:cNvPr>
          <p:cNvSpPr/>
          <p:nvPr/>
        </p:nvSpPr>
        <p:spPr>
          <a:xfrm>
            <a:off x="457769" y="5396950"/>
            <a:ext cx="224351" cy="216000"/>
          </a:xfrm>
          <a:prstGeom prst="rect">
            <a:avLst/>
          </a:prstGeom>
          <a:solidFill>
            <a:srgbClr val="DC6900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EAB10E4-413C-433D-AE87-506ED816AB5B}"/>
              </a:ext>
            </a:extLst>
          </p:cNvPr>
          <p:cNvSpPr/>
          <p:nvPr/>
        </p:nvSpPr>
        <p:spPr>
          <a:xfrm>
            <a:off x="809490" y="5420102"/>
            <a:ext cx="1059329" cy="216000"/>
          </a:xfrm>
          <a:prstGeom prst="rect">
            <a:avLst/>
          </a:prstGeom>
          <a:noFill/>
          <a:ln w="12700">
            <a:noFill/>
            <a:prstDash val="sysDash"/>
          </a:ln>
        </p:spPr>
        <p:txBody>
          <a:bodyPr wrap="square" lIns="36000" tIns="18000" rIns="36000" anchor="ctr">
            <a:noAutofit/>
          </a:bodyPr>
          <a:lstStyle/>
          <a:p>
            <a:pPr marL="0" marR="0" lvl="0" indent="0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Belgium entity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DAB90C5-5D60-4CB6-A662-E18B45237726}"/>
              </a:ext>
            </a:extLst>
          </p:cNvPr>
          <p:cNvSpPr/>
          <p:nvPr/>
        </p:nvSpPr>
        <p:spPr>
          <a:xfrm>
            <a:off x="457769" y="5693474"/>
            <a:ext cx="224351" cy="216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201E308-F4CA-4AB3-B4C4-51FB4DEA502A}"/>
              </a:ext>
            </a:extLst>
          </p:cNvPr>
          <p:cNvSpPr/>
          <p:nvPr/>
        </p:nvSpPr>
        <p:spPr>
          <a:xfrm>
            <a:off x="809490" y="5694220"/>
            <a:ext cx="1059329" cy="216000"/>
          </a:xfrm>
          <a:prstGeom prst="rect">
            <a:avLst/>
          </a:prstGeom>
          <a:noFill/>
          <a:ln w="12700">
            <a:noFill/>
            <a:prstDash val="sysDash"/>
          </a:ln>
        </p:spPr>
        <p:txBody>
          <a:bodyPr wrap="square" lIns="36000" tIns="18000" rIns="36000" anchor="ctr">
            <a:noAutofit/>
          </a:bodyPr>
          <a:lstStyle/>
          <a:p>
            <a:pPr marL="0" marR="0" lvl="0" indent="0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UK entity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58B8885-392D-44CC-95A8-A025CBF40875}"/>
              </a:ext>
            </a:extLst>
          </p:cNvPr>
          <p:cNvSpPr/>
          <p:nvPr/>
        </p:nvSpPr>
        <p:spPr>
          <a:xfrm>
            <a:off x="457769" y="6111889"/>
            <a:ext cx="1984068" cy="216000"/>
          </a:xfrm>
          <a:prstGeom prst="rect">
            <a:avLst/>
          </a:prstGeom>
          <a:noFill/>
          <a:ln w="12700">
            <a:noFill/>
            <a:prstDash val="sysDash"/>
          </a:ln>
        </p:spPr>
        <p:txBody>
          <a:bodyPr wrap="square" lIns="36000" tIns="18000" rIns="36000" anchor="ctr">
            <a:noAutofit/>
          </a:bodyPr>
          <a:lstStyle/>
          <a:p>
            <a:pPr marL="0" marR="0" lvl="0" indent="0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/>
              <a:t>All investments are wholly owned, if not indicated otherwise</a:t>
            </a:r>
            <a:endParaRPr kumimoji="0" lang="en-GB" sz="800" b="1" u="none" strike="noStrike" kern="0" cap="none" spc="0" normalizeH="0" baseline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05FC7B4-CB1C-41EF-AB38-EDFD415AED22}"/>
              </a:ext>
            </a:extLst>
          </p:cNvPr>
          <p:cNvSpPr/>
          <p:nvPr/>
        </p:nvSpPr>
        <p:spPr>
          <a:xfrm>
            <a:off x="3203958" y="3037439"/>
            <a:ext cx="1152000" cy="486000"/>
          </a:xfrm>
          <a:prstGeom prst="rect">
            <a:avLst/>
          </a:prstGeom>
          <a:solidFill>
            <a:srgbClr val="E0301E"/>
          </a:solidFill>
          <a:ln w="12700">
            <a:solidFill>
              <a:schemeClr val="tx1"/>
            </a:solidFill>
          </a:ln>
        </p:spPr>
        <p:txBody>
          <a:bodyPr wrap="square" lIns="36000" rIns="36000" anchor="ctr">
            <a:noAutofit/>
          </a:bodyPr>
          <a:lstStyle/>
          <a:p>
            <a:pPr lvl="0" algn="ctr" fontAlgn="b">
              <a:defRPr/>
            </a:pPr>
            <a:r>
              <a:rPr lang="en-GB" sz="800" b="1" kern="0" dirty="0">
                <a:solidFill>
                  <a:srgbClr val="FFFFFF"/>
                </a:solidFill>
              </a:rPr>
              <a:t>FlyByU Ltd</a:t>
            </a:r>
            <a:br>
              <a:rPr lang="en-GB" sz="800" b="1" kern="0" dirty="0">
                <a:solidFill>
                  <a:srgbClr val="FFFFFF"/>
                </a:solidFill>
              </a:rPr>
            </a:br>
            <a:r>
              <a:rPr lang="en-GB" sz="800" b="1" kern="0" dirty="0">
                <a:solidFill>
                  <a:srgbClr val="FFFFFF"/>
                </a:solidFill>
              </a:rPr>
              <a:t>(USA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9531D4-687D-48D4-ADA2-B35B2CD0F6DF}"/>
              </a:ext>
            </a:extLst>
          </p:cNvPr>
          <p:cNvCxnSpPr>
            <a:stCxn id="34" idx="2"/>
            <a:endCxn id="56" idx="0"/>
          </p:cNvCxnSpPr>
          <p:nvPr/>
        </p:nvCxnSpPr>
        <p:spPr>
          <a:xfrm>
            <a:off x="5084439" y="2599831"/>
            <a:ext cx="0" cy="437608"/>
          </a:xfrm>
          <a:prstGeom prst="line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E603995-939B-4804-88ED-56CC67355132}"/>
              </a:ext>
            </a:extLst>
          </p:cNvPr>
          <p:cNvCxnSpPr>
            <a:stCxn id="56" idx="2"/>
            <a:endCxn id="57" idx="0"/>
          </p:cNvCxnSpPr>
          <p:nvPr/>
        </p:nvCxnSpPr>
        <p:spPr>
          <a:xfrm flipH="1">
            <a:off x="5080558" y="3523439"/>
            <a:ext cx="3881" cy="437608"/>
          </a:xfrm>
          <a:prstGeom prst="line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6F8D347-F6FF-4C61-992D-A448529431BA}"/>
              </a:ext>
            </a:extLst>
          </p:cNvPr>
          <p:cNvCxnSpPr>
            <a:endCxn id="60" idx="2"/>
          </p:cNvCxnSpPr>
          <p:nvPr/>
        </p:nvCxnSpPr>
        <p:spPr>
          <a:xfrm flipV="1">
            <a:off x="3763785" y="4447047"/>
            <a:ext cx="9822" cy="468000"/>
          </a:xfrm>
          <a:prstGeom prst="line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  <p:grpSp>
        <p:nvGrpSpPr>
          <p:cNvPr id="20" name="Group 18">
            <a:extLst>
              <a:ext uri="{FF2B5EF4-FFF2-40B4-BE49-F238E27FC236}">
                <a16:creationId xmlns:a16="http://schemas.microsoft.com/office/drawing/2014/main" id="{388C6450-F40C-4562-93A2-8FA36871E46C}"/>
              </a:ext>
            </a:extLst>
          </p:cNvPr>
          <p:cNvGrpSpPr>
            <a:grpSpLocks/>
          </p:cNvGrpSpPr>
          <p:nvPr/>
        </p:nvGrpSpPr>
        <p:grpSpPr bwMode="auto">
          <a:xfrm>
            <a:off x="3186162" y="4884654"/>
            <a:ext cx="1229245" cy="554037"/>
            <a:chOff x="6948039" y="5043488"/>
            <a:chExt cx="1230037" cy="554037"/>
          </a:xfrm>
          <a:solidFill>
            <a:srgbClr val="DC6900"/>
          </a:solidFill>
        </p:grpSpPr>
        <p:sp>
          <p:nvSpPr>
            <p:cNvPr id="21" name="Oval 82">
              <a:extLst>
                <a:ext uri="{FF2B5EF4-FFF2-40B4-BE49-F238E27FC236}">
                  <a16:creationId xmlns:a16="http://schemas.microsoft.com/office/drawing/2014/main" id="{BDF851F8-92C2-4F08-9948-6B5157D8A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5334" y="5112212"/>
              <a:ext cx="1152742" cy="485313"/>
            </a:xfrm>
            <a:prstGeom prst="ellipse">
              <a:avLst/>
            </a:prstGeom>
            <a:solidFill>
              <a:srgbClr val="DC6900"/>
            </a:solidFill>
            <a:ln w="12700">
              <a:solidFill>
                <a:schemeClr val="tx1"/>
              </a:solidFill>
            </a:ln>
          </p:spPr>
          <p:txBody>
            <a:bodyPr wrap="square" lIns="36000" rIns="36000" anchor="ctr">
              <a:noAutofit/>
            </a:bodyPr>
            <a:lstStyle>
              <a:lvl1pPr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"/>
              <a:endParaRPr lang="de-CH" altLang="de-DE" sz="800" b="1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2" name="Oval 13">
              <a:extLst>
                <a:ext uri="{FF2B5EF4-FFF2-40B4-BE49-F238E27FC236}">
                  <a16:creationId xmlns:a16="http://schemas.microsoft.com/office/drawing/2014/main" id="{E4C8102A-0133-415F-85D3-A144EDF3D8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8039" y="5043488"/>
              <a:ext cx="1152742" cy="485313"/>
            </a:xfrm>
            <a:prstGeom prst="ellipse">
              <a:avLst/>
            </a:prstGeom>
            <a:solidFill>
              <a:srgbClr val="DC6900"/>
            </a:solidFill>
            <a:ln w="12700">
              <a:solidFill>
                <a:schemeClr val="tx1"/>
              </a:solidFill>
            </a:ln>
          </p:spPr>
          <p:txBody>
            <a:bodyPr wrap="square" lIns="36000" rIns="36000" anchor="ctr">
              <a:noAutofit/>
            </a:bodyPr>
            <a:lstStyle>
              <a:lvl1pPr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59213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5921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"/>
              <a:r>
                <a:rPr lang="de-CH" altLang="de-DE" sz="800" b="1" kern="0">
                  <a:solidFill>
                    <a:srgbClr val="FFFFFF"/>
                  </a:solidFill>
                  <a:latin typeface="+mn-lt"/>
                </a:rPr>
                <a:t>FlyByU </a:t>
              </a:r>
              <a:br>
                <a:rPr lang="de-CH" altLang="de-DE" sz="800" b="1" kern="0">
                  <a:solidFill>
                    <a:srgbClr val="FFFFFF"/>
                  </a:solidFill>
                  <a:latin typeface="+mn-lt"/>
                </a:rPr>
              </a:br>
              <a:r>
                <a:rPr lang="de-CH" altLang="de-DE" sz="800" b="1" kern="0" err="1">
                  <a:solidFill>
                    <a:srgbClr val="FFFFFF"/>
                  </a:solidFill>
                  <a:latin typeface="+mn-lt"/>
                </a:rPr>
                <a:t>Belgium</a:t>
              </a:r>
              <a:r>
                <a:rPr lang="de-CH" altLang="de-DE" sz="800" b="1" kern="0">
                  <a:solidFill>
                    <a:srgbClr val="FFFFFF"/>
                  </a:solidFill>
                  <a:latin typeface="+mn-lt"/>
                </a:rPr>
                <a:t> </a:t>
              </a:r>
              <a:r>
                <a:rPr lang="de-CH" altLang="de-DE" sz="800" b="1" kern="0" err="1">
                  <a:solidFill>
                    <a:srgbClr val="FFFFFF"/>
                  </a:solidFill>
                  <a:latin typeface="+mn-lt"/>
                </a:rPr>
                <a:t>Branches</a:t>
              </a:r>
              <a:endParaRPr lang="de-CH" altLang="de-DE" sz="800" b="1" kern="0">
                <a:solidFill>
                  <a:srgbClr val="FFFFFF"/>
                </a:solidFill>
                <a:latin typeface="+mn-lt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5748A18-E77E-457B-BAD8-9EFA90B6FCC4}"/>
              </a:ext>
            </a:extLst>
          </p:cNvPr>
          <p:cNvCxnSpPr>
            <a:stCxn id="76" idx="2"/>
            <a:endCxn id="60" idx="0"/>
          </p:cNvCxnSpPr>
          <p:nvPr/>
        </p:nvCxnSpPr>
        <p:spPr>
          <a:xfrm flipH="1">
            <a:off x="3773607" y="3523439"/>
            <a:ext cx="6351" cy="437608"/>
          </a:xfrm>
          <a:prstGeom prst="line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939989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792,1,FlyByU Group Structur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RbApnckh40MdWtZASw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E1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TLS Standard Presentation.potx" id="{8CAA39C8-B365-4B1B-B632-68E7F4C12BDC}" vid="{51C16C59-2628-4BCD-8DD2-BA2E3F1E75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9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eorgia</vt:lpstr>
      <vt:lpstr>Times New Roman</vt:lpstr>
      <vt:lpstr>Wingdings</vt:lpstr>
      <vt:lpstr>PwC Smart</vt:lpstr>
      <vt:lpstr>think-cell Slide</vt:lpstr>
      <vt:lpstr>FlyByU Group Struc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Lisa Udet (CH)</cp:lastModifiedBy>
  <cp:revision>1</cp:revision>
  <dcterms:created xsi:type="dcterms:W3CDTF">2021-02-19T10:25:41Z</dcterms:created>
  <dcterms:modified xsi:type="dcterms:W3CDTF">2021-04-19T08:35:04Z</dcterms:modified>
</cp:coreProperties>
</file>